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4"/>
    <p:sldMasterId id="2147483658" r:id="rId5"/>
  </p:sldMasterIdLst>
  <p:notesMasterIdLst>
    <p:notesMasterId r:id="rId17"/>
  </p:notesMasterIdLst>
  <p:handoutMasterIdLst>
    <p:handoutMasterId r:id="rId18"/>
  </p:handoutMasterIdLst>
  <p:sldIdLst>
    <p:sldId id="393" r:id="rId6"/>
    <p:sldId id="431" r:id="rId7"/>
    <p:sldId id="365" r:id="rId8"/>
    <p:sldId id="432" r:id="rId9"/>
    <p:sldId id="402" r:id="rId10"/>
    <p:sldId id="407" r:id="rId11"/>
    <p:sldId id="408" r:id="rId12"/>
    <p:sldId id="433" r:id="rId13"/>
    <p:sldId id="404" r:id="rId14"/>
    <p:sldId id="434" r:id="rId15"/>
    <p:sldId id="37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rendranath, A." initials="NA" lastIdx="6" clrIdx="0">
    <p:extLst>
      <p:ext uri="{19B8F6BF-5375-455C-9EA6-DF929625EA0E}">
        <p15:presenceInfo xmlns:p15="http://schemas.microsoft.com/office/powerpoint/2012/main" userId="S::a.narendranath@accenture.com::318cd460-4ad9-4520-a37b-60478c6c5a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00E6"/>
    <a:srgbClr val="A100FF"/>
    <a:srgbClr val="CB99FF"/>
    <a:srgbClr val="008EFF"/>
    <a:srgbClr val="7500C0"/>
    <a:srgbClr val="460073"/>
    <a:srgbClr val="7E00FF"/>
    <a:srgbClr val="E00348"/>
    <a:srgbClr val="FE066D"/>
    <a:srgbClr val="C7012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86" y="1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10/1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10/1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55638" y="4733925"/>
            <a:ext cx="5486400" cy="3600450"/>
          </a:xfrm>
        </p:spPr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0" dirty="0"/>
          </a:p>
        </p:txBody>
      </p:sp>
      <p:sp>
        <p:nvSpPr>
          <p:cNvPr id="4" name="TextBox 3"/>
          <p:cNvSpPr txBox="1"/>
          <p:nvPr/>
        </p:nvSpPr>
        <p:spPr>
          <a:xfrm>
            <a:off x="160867" y="8813006"/>
            <a:ext cx="3268133" cy="2032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67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pyright © 2016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5425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55638" y="4733925"/>
            <a:ext cx="5486400" cy="3600450"/>
          </a:xfrm>
        </p:spPr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0" dirty="0"/>
          </a:p>
        </p:txBody>
      </p:sp>
      <p:sp>
        <p:nvSpPr>
          <p:cNvPr id="4" name="TextBox 3"/>
          <p:cNvSpPr txBox="1"/>
          <p:nvPr/>
        </p:nvSpPr>
        <p:spPr>
          <a:xfrm>
            <a:off x="160867" y="8813006"/>
            <a:ext cx="3268133" cy="2032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67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pyright © 2016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96905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55638" y="4733925"/>
            <a:ext cx="5486400" cy="3600450"/>
          </a:xfrm>
        </p:spPr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0" dirty="0"/>
          </a:p>
        </p:txBody>
      </p:sp>
      <p:sp>
        <p:nvSpPr>
          <p:cNvPr id="4" name="TextBox 3"/>
          <p:cNvSpPr txBox="1"/>
          <p:nvPr/>
        </p:nvSpPr>
        <p:spPr>
          <a:xfrm>
            <a:off x="160867" y="8813006"/>
            <a:ext cx="3268133" cy="2032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67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pyright © 2016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0221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>
            <a:extLst>
              <a:ext uri="{FF2B5EF4-FFF2-40B4-BE49-F238E27FC236}">
                <a16:creationId xmlns:a16="http://schemas.microsoft.com/office/drawing/2014/main" id="{AC275ECA-24AA-44FA-A986-E5BE7DF92BF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1" name="Notes Placeholder 2">
            <a:extLst>
              <a:ext uri="{FF2B5EF4-FFF2-40B4-BE49-F238E27FC236}">
                <a16:creationId xmlns:a16="http://schemas.microsoft.com/office/drawing/2014/main" id="{2E8CE95C-CE33-4FC8-AC6D-6D3FD718F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68612" name="Slide Number Placeholder 3">
            <a:extLst>
              <a:ext uri="{FF2B5EF4-FFF2-40B4-BE49-F238E27FC236}">
                <a16:creationId xmlns:a16="http://schemas.microsoft.com/office/drawing/2014/main" id="{3CC7D29A-5D55-4016-A76A-90CC2C35F1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0C77390-9B64-4F03-9461-1F2810E897D4}" type="slidenum">
              <a:rPr lang="en-US" altLang="en-US" sz="1000" smtClean="0">
                <a:cs typeface="Arial" panose="020B0604020202020204" pitchFamily="34" charset="0"/>
              </a:rPr>
              <a:pPr/>
              <a:t>10</a:t>
            </a:fld>
            <a:endParaRPr lang="en-US" altLang="en-US" sz="1000">
              <a:cs typeface="Arial" panose="020B0604020202020204" pitchFamily="34" charset="0"/>
            </a:endParaRPr>
          </a:p>
        </p:txBody>
      </p:sp>
      <p:sp>
        <p:nvSpPr>
          <p:cNvPr id="68613" name="Date Placeholder 5">
            <a:extLst>
              <a:ext uri="{FF2B5EF4-FFF2-40B4-BE49-F238E27FC236}">
                <a16:creationId xmlns:a16="http://schemas.microsoft.com/office/drawing/2014/main" id="{102E1E14-4B2B-4D45-BF63-6DD3DCE82D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259263" y="0"/>
            <a:ext cx="259715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>
                <a:cs typeface="Arial" panose="020B0604020202020204" pitchFamily="34" charset="0"/>
              </a:rPr>
              <a:t>ADF_2.0_Testing_M02_Intro_to_SDLC.pptx</a:t>
            </a:r>
          </a:p>
        </p:txBody>
      </p:sp>
      <p:sp>
        <p:nvSpPr>
          <p:cNvPr id="68614" name="Header Placeholder 4">
            <a:extLst>
              <a:ext uri="{FF2B5EF4-FFF2-40B4-BE49-F238E27FC236}">
                <a16:creationId xmlns:a16="http://schemas.microsoft.com/office/drawing/2014/main" id="{D41F1ED1-7B9E-43F2-B528-47A73197334A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388461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>
                <a:cs typeface="Arial" panose="020B0604020202020204" pitchFamily="34" charset="0"/>
              </a:rPr>
              <a:t>Application Delivery Fundamentals (ADF) 2.0: Testing</a:t>
            </a:r>
          </a:p>
          <a:p>
            <a:pPr eaLnBrk="1" hangingPunct="1"/>
            <a:r>
              <a:rPr lang="en-US" altLang="en-US" sz="1200">
                <a:cs typeface="Arial" panose="020B0604020202020204" pitchFamily="34" charset="0"/>
              </a:rPr>
              <a:t>Module 02: Introduction to Software Development Life Cycle (SDLC)</a:t>
            </a:r>
          </a:p>
        </p:txBody>
      </p:sp>
      <p:sp>
        <p:nvSpPr>
          <p:cNvPr id="68615" name="Footer Placeholder 5">
            <a:extLst>
              <a:ext uri="{FF2B5EF4-FFF2-40B4-BE49-F238E27FC236}">
                <a16:creationId xmlns:a16="http://schemas.microsoft.com/office/drawing/2014/main" id="{661A5334-DBCC-49B6-8D7A-B3C8E6C3AD3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3432175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223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>
                <a:cs typeface="Arial" panose="020B0604020202020204" pitchFamily="34" charset="0"/>
              </a:rPr>
              <a:t>Copyright © 2013 Accenture All Rights Reserved.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5060" y="457200"/>
            <a:ext cx="5950190" cy="3086100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35059" y="3543303"/>
            <a:ext cx="5950190" cy="2910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600" b="0" baseline="0">
                <a:solidFill>
                  <a:srgbClr val="A700E6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D4AAC0-F751-46EB-8079-A450A25A1BB8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D17D7A-C995-422C-9722-6975B3D6A6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47741" y="937439"/>
            <a:ext cx="4309200" cy="452466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1518E18-655B-4050-AB2D-98EDCCD947C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63B2B80-8459-422C-B07E-774B0B101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FD4DD6-8884-4A87-BF32-3D684759E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27760717-9806-4AA1-9546-B783DB962C1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781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0 - Dark Blan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97D870A-5430-4CCA-8D8B-28E5D5EC1F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51" y="0"/>
            <a:ext cx="12172950" cy="685465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449782B-3EFC-4469-9567-266069384B50}"/>
              </a:ext>
            </a:extLst>
          </p:cNvPr>
          <p:cNvSpPr/>
          <p:nvPr userDrawn="1"/>
        </p:nvSpPr>
        <p:spPr>
          <a:xfrm>
            <a:off x="0" y="0"/>
            <a:ext cx="12192000" cy="6854657"/>
          </a:xfrm>
          <a:prstGeom prst="rect">
            <a:avLst/>
          </a:prstGeom>
          <a:solidFill>
            <a:srgbClr val="000C1D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54181F-6B29-4D14-B1ED-9BF2EC4A1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D6EADDE-99FF-4BC8-87DA-6261696FD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CE031E4-01BF-45B8-B115-CA636DF35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F43B3D2E-A3BA-4C92-8BB6-D76F9ECBD66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47741" y="937439"/>
            <a:ext cx="4309200" cy="452466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8EB4C82F-C87C-4AB4-BAE0-8E077BEA3B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457200"/>
            <a:ext cx="5950190" cy="3086100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D7FAF18-E079-4E88-983B-849F6256B7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122" y="3543303"/>
            <a:ext cx="5956127" cy="2910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0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63F33E-C21A-4D9D-8332-BACB4CD68A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2249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1 - Abstrac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icture containing clothing, underwear, umbrella&#10;&#10;Description automatically generated">
            <a:extLst>
              <a:ext uri="{FF2B5EF4-FFF2-40B4-BE49-F238E27FC236}">
                <a16:creationId xmlns:a16="http://schemas.microsoft.com/office/drawing/2014/main" id="{9636B599-D20F-4063-ACB8-A8C9ECD9CF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40" r="224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A7C1A0-D105-4FA6-A386-D6526EA0A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73818" y="309378"/>
            <a:ext cx="2249619" cy="60355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D91DD3-C3BD-4DC9-8189-A69F4699B7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02774" y="3099092"/>
            <a:ext cx="6378008" cy="20824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4562A6-2583-4AB0-955F-D54480F959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7502" y="1084694"/>
            <a:ext cx="6372808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5A68AA-2D80-4E43-9479-C7DE6B584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03595" y="6286684"/>
            <a:ext cx="32670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b="1" dirty="0"/>
              <a:t>Learning and Knowledge Manag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D719E6-9E00-41F6-9EEA-2E915CB9AB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8488" y="6454775"/>
            <a:ext cx="321468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997501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8106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an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6849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32A72A4-6061-492B-9BF1-BE02B584BE7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393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123583599.jpg">
            <a:extLst>
              <a:ext uri="{FF2B5EF4-FFF2-40B4-BE49-F238E27FC236}">
                <a16:creationId xmlns:a16="http://schemas.microsoft.com/office/drawing/2014/main" id="{7BD70BD9-94FF-43C4-AE99-DEEA71B601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9603" y="359083"/>
            <a:ext cx="10970684" cy="605012"/>
          </a:xfrm>
        </p:spPr>
        <p:txBody>
          <a:bodyPr lIns="0" rIns="0" anchor="b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7988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9413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4" y="1391038"/>
            <a:ext cx="8945464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8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6298199" cy="45865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Objec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5865388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 dirty="0">
                <a:solidFill>
                  <a:schemeClr val="tx1"/>
                </a:solidFill>
              </a:rPr>
              <a:t>At the end of this course, you should be able to: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9621754-0BA2-486D-94D1-3591D48324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8527" y="1391038"/>
            <a:ext cx="2500410" cy="248924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F049676-DED9-46DE-B73D-2D973729CA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81708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8AF101C-5D87-4199-9538-2A190793D3E2}"/>
              </a:ext>
            </a:extLst>
          </p:cNvPr>
          <p:cNvGrpSpPr/>
          <p:nvPr userDrawn="1"/>
        </p:nvGrpSpPr>
        <p:grpSpPr>
          <a:xfrm>
            <a:off x="9282456" y="1517156"/>
            <a:ext cx="2572553" cy="2237009"/>
            <a:chOff x="7196318" y="2301786"/>
            <a:chExt cx="889083" cy="773118"/>
          </a:xfrm>
        </p:grpSpPr>
        <p:pic>
          <p:nvPicPr>
            <p:cNvPr id="15" name="Picture 19">
              <a:extLst>
                <a:ext uri="{FF2B5EF4-FFF2-40B4-BE49-F238E27FC236}">
                  <a16:creationId xmlns:a16="http://schemas.microsoft.com/office/drawing/2014/main" id="{422DCCAA-DC80-4F95-A097-10AAFA2CCA3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6318" y="2965697"/>
              <a:ext cx="889083" cy="109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3A2CE09-6585-4FD6-8C5B-5BD6389EA7D4}"/>
                </a:ext>
              </a:extLst>
            </p:cNvPr>
            <p:cNvGrpSpPr/>
            <p:nvPr/>
          </p:nvGrpSpPr>
          <p:grpSpPr>
            <a:xfrm>
              <a:off x="7402731" y="2301786"/>
              <a:ext cx="543219" cy="620422"/>
              <a:chOff x="1420813" y="2441576"/>
              <a:chExt cx="614362" cy="701675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0D111403-6FC0-4618-9876-7A3C75524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025" y="2779713"/>
                <a:ext cx="182563" cy="184150"/>
              </a:xfrm>
              <a:custGeom>
                <a:avLst/>
                <a:gdLst>
                  <a:gd name="T0" fmla="*/ 39 w 49"/>
                  <a:gd name="T1" fmla="*/ 27 h 49"/>
                  <a:gd name="T2" fmla="*/ 17 w 49"/>
                  <a:gd name="T3" fmla="*/ 29 h 49"/>
                  <a:gd name="T4" fmla="*/ 38 w 49"/>
                  <a:gd name="T5" fmla="*/ 4 h 49"/>
                  <a:gd name="T6" fmla="*/ 25 w 49"/>
                  <a:gd name="T7" fmla="*/ 0 h 49"/>
                  <a:gd name="T8" fmla="*/ 0 w 49"/>
                  <a:gd name="T9" fmla="*/ 25 h 49"/>
                  <a:gd name="T10" fmla="*/ 25 w 49"/>
                  <a:gd name="T11" fmla="*/ 49 h 49"/>
                  <a:gd name="T12" fmla="*/ 49 w 49"/>
                  <a:gd name="T13" fmla="*/ 25 h 49"/>
                  <a:gd name="T14" fmla="*/ 48 w 49"/>
                  <a:gd name="T15" fmla="*/ 17 h 49"/>
                  <a:gd name="T16" fmla="*/ 39 w 49"/>
                  <a:gd name="T17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39" y="27"/>
                    </a:moveTo>
                    <a:cubicBezTo>
                      <a:pt x="17" y="29"/>
                      <a:pt x="17" y="29"/>
                      <a:pt x="17" y="29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0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38"/>
                      <a:pt x="11" y="49"/>
                      <a:pt x="25" y="49"/>
                    </a:cubicBezTo>
                    <a:cubicBezTo>
                      <a:pt x="38" y="49"/>
                      <a:pt x="49" y="38"/>
                      <a:pt x="49" y="25"/>
                    </a:cubicBezTo>
                    <a:cubicBezTo>
                      <a:pt x="49" y="22"/>
                      <a:pt x="49" y="19"/>
                      <a:pt x="48" y="17"/>
                    </a:cubicBezTo>
                    <a:lnTo>
                      <a:pt x="39" y="27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4F351114-39E5-4B50-9F02-C0B40CB65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813" y="2603501"/>
                <a:ext cx="538163" cy="539750"/>
              </a:xfrm>
              <a:custGeom>
                <a:avLst/>
                <a:gdLst>
                  <a:gd name="T0" fmla="*/ 113 w 144"/>
                  <a:gd name="T1" fmla="*/ 45 h 144"/>
                  <a:gd name="T2" fmla="*/ 121 w 144"/>
                  <a:gd name="T3" fmla="*/ 72 h 144"/>
                  <a:gd name="T4" fmla="*/ 72 w 144"/>
                  <a:gd name="T5" fmla="*/ 121 h 144"/>
                  <a:gd name="T6" fmla="*/ 23 w 144"/>
                  <a:gd name="T7" fmla="*/ 72 h 144"/>
                  <a:gd name="T8" fmla="*/ 72 w 144"/>
                  <a:gd name="T9" fmla="*/ 23 h 144"/>
                  <a:gd name="T10" fmla="*/ 103 w 144"/>
                  <a:gd name="T11" fmla="*/ 34 h 144"/>
                  <a:gd name="T12" fmla="*/ 117 w 144"/>
                  <a:gd name="T13" fmla="*/ 16 h 144"/>
                  <a:gd name="T14" fmla="*/ 72 w 144"/>
                  <a:gd name="T15" fmla="*/ 0 h 144"/>
                  <a:gd name="T16" fmla="*/ 0 w 144"/>
                  <a:gd name="T17" fmla="*/ 72 h 144"/>
                  <a:gd name="T18" fmla="*/ 72 w 144"/>
                  <a:gd name="T19" fmla="*/ 144 h 144"/>
                  <a:gd name="T20" fmla="*/ 144 w 144"/>
                  <a:gd name="T21" fmla="*/ 72 h 144"/>
                  <a:gd name="T22" fmla="*/ 128 w 144"/>
                  <a:gd name="T23" fmla="*/ 27 h 144"/>
                  <a:gd name="T24" fmla="*/ 113 w 144"/>
                  <a:gd name="T25" fmla="*/ 4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44">
                    <a:moveTo>
                      <a:pt x="113" y="45"/>
                    </a:moveTo>
                    <a:cubicBezTo>
                      <a:pt x="118" y="53"/>
                      <a:pt x="121" y="62"/>
                      <a:pt x="121" y="72"/>
                    </a:cubicBezTo>
                    <a:cubicBezTo>
                      <a:pt x="121" y="99"/>
                      <a:pt x="99" y="121"/>
                      <a:pt x="72" y="121"/>
                    </a:cubicBezTo>
                    <a:cubicBezTo>
                      <a:pt x="45" y="121"/>
                      <a:pt x="23" y="99"/>
                      <a:pt x="23" y="72"/>
                    </a:cubicBezTo>
                    <a:cubicBezTo>
                      <a:pt x="23" y="45"/>
                      <a:pt x="45" y="23"/>
                      <a:pt x="72" y="23"/>
                    </a:cubicBezTo>
                    <a:cubicBezTo>
                      <a:pt x="84" y="23"/>
                      <a:pt x="94" y="27"/>
                      <a:pt x="103" y="34"/>
                    </a:cubicBezTo>
                    <a:cubicBezTo>
                      <a:pt x="117" y="16"/>
                      <a:pt x="117" y="16"/>
                      <a:pt x="117" y="16"/>
                    </a:cubicBezTo>
                    <a:cubicBezTo>
                      <a:pt x="105" y="6"/>
                      <a:pt x="89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111"/>
                      <a:pt x="32" y="144"/>
                      <a:pt x="72" y="144"/>
                    </a:cubicBezTo>
                    <a:cubicBezTo>
                      <a:pt x="111" y="144"/>
                      <a:pt x="144" y="111"/>
                      <a:pt x="144" y="72"/>
                    </a:cubicBezTo>
                    <a:cubicBezTo>
                      <a:pt x="144" y="55"/>
                      <a:pt x="138" y="39"/>
                      <a:pt x="128" y="27"/>
                    </a:cubicBezTo>
                    <a:lnTo>
                      <a:pt x="113" y="45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3CA9F99D-6A85-4381-B285-E266023D4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525" y="2441576"/>
                <a:ext cx="374650" cy="447675"/>
              </a:xfrm>
              <a:custGeom>
                <a:avLst/>
                <a:gdLst>
                  <a:gd name="T0" fmla="*/ 236 w 236"/>
                  <a:gd name="T1" fmla="*/ 50 h 282"/>
                  <a:gd name="T2" fmla="*/ 181 w 236"/>
                  <a:gd name="T3" fmla="*/ 55 h 282"/>
                  <a:gd name="T4" fmla="*/ 177 w 236"/>
                  <a:gd name="T5" fmla="*/ 0 h 282"/>
                  <a:gd name="T6" fmla="*/ 132 w 236"/>
                  <a:gd name="T7" fmla="*/ 55 h 282"/>
                  <a:gd name="T8" fmla="*/ 127 w 236"/>
                  <a:gd name="T9" fmla="*/ 95 h 282"/>
                  <a:gd name="T10" fmla="*/ 5 w 236"/>
                  <a:gd name="T11" fmla="*/ 248 h 282"/>
                  <a:gd name="T12" fmla="*/ 0 w 236"/>
                  <a:gd name="T13" fmla="*/ 282 h 282"/>
                  <a:gd name="T14" fmla="*/ 33 w 236"/>
                  <a:gd name="T15" fmla="*/ 270 h 282"/>
                  <a:gd name="T16" fmla="*/ 156 w 236"/>
                  <a:gd name="T17" fmla="*/ 116 h 282"/>
                  <a:gd name="T18" fmla="*/ 193 w 236"/>
                  <a:gd name="T19" fmla="*/ 104 h 282"/>
                  <a:gd name="T20" fmla="*/ 236 w 236"/>
                  <a:gd name="T21" fmla="*/ 5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6" h="282">
                    <a:moveTo>
                      <a:pt x="236" y="50"/>
                    </a:moveTo>
                    <a:lnTo>
                      <a:pt x="181" y="55"/>
                    </a:lnTo>
                    <a:lnTo>
                      <a:pt x="177" y="0"/>
                    </a:lnTo>
                    <a:lnTo>
                      <a:pt x="132" y="55"/>
                    </a:lnTo>
                    <a:lnTo>
                      <a:pt x="127" y="95"/>
                    </a:lnTo>
                    <a:lnTo>
                      <a:pt x="5" y="248"/>
                    </a:lnTo>
                    <a:lnTo>
                      <a:pt x="0" y="282"/>
                    </a:lnTo>
                    <a:lnTo>
                      <a:pt x="33" y="270"/>
                    </a:lnTo>
                    <a:lnTo>
                      <a:pt x="156" y="116"/>
                    </a:lnTo>
                    <a:lnTo>
                      <a:pt x="193" y="104"/>
                    </a:lnTo>
                    <a:lnTo>
                      <a:pt x="236" y="50"/>
                    </a:lnTo>
                    <a:close/>
                  </a:path>
                </a:pathLst>
              </a:custGeom>
              <a:solidFill>
                <a:srgbClr val="4E5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4" y="1391038"/>
            <a:ext cx="9498520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8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6213239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Learning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Objec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5493492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 dirty="0">
                <a:solidFill>
                  <a:schemeClr val="tx1"/>
                </a:solidFill>
              </a:rPr>
              <a:t>At the end of this unit, you should be able to: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2474FE-D537-4323-AE99-752281986EA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3775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D98C605-F339-41FA-8E7C-E8627B28F8A0}"/>
              </a:ext>
            </a:extLst>
          </p:cNvPr>
          <p:cNvGrpSpPr/>
          <p:nvPr userDrawn="1"/>
        </p:nvGrpSpPr>
        <p:grpSpPr>
          <a:xfrm>
            <a:off x="9282456" y="1517156"/>
            <a:ext cx="2572553" cy="2237009"/>
            <a:chOff x="7196318" y="2301786"/>
            <a:chExt cx="889083" cy="773118"/>
          </a:xfrm>
        </p:grpSpPr>
        <p:pic>
          <p:nvPicPr>
            <p:cNvPr id="8" name="Picture 19">
              <a:extLst>
                <a:ext uri="{FF2B5EF4-FFF2-40B4-BE49-F238E27FC236}">
                  <a16:creationId xmlns:a16="http://schemas.microsoft.com/office/drawing/2014/main" id="{95671EEE-51CD-4D1C-8970-D3BB5F6AA6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6318" y="2965697"/>
              <a:ext cx="889083" cy="109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02568B1-DB4F-433E-A8D5-733A28D050F4}"/>
                </a:ext>
              </a:extLst>
            </p:cNvPr>
            <p:cNvGrpSpPr/>
            <p:nvPr/>
          </p:nvGrpSpPr>
          <p:grpSpPr>
            <a:xfrm>
              <a:off x="7402731" y="2301786"/>
              <a:ext cx="543219" cy="620422"/>
              <a:chOff x="1420813" y="2441576"/>
              <a:chExt cx="614362" cy="701675"/>
            </a:xfrm>
          </p:grpSpPr>
          <p:sp>
            <p:nvSpPr>
              <p:cNvPr id="10" name="Freeform 26">
                <a:extLst>
                  <a:ext uri="{FF2B5EF4-FFF2-40B4-BE49-F238E27FC236}">
                    <a16:creationId xmlns:a16="http://schemas.microsoft.com/office/drawing/2014/main" id="{A0F6F83F-EA34-40CD-A03C-D1CFFDB9B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025" y="2779713"/>
                <a:ext cx="182563" cy="184150"/>
              </a:xfrm>
              <a:custGeom>
                <a:avLst/>
                <a:gdLst>
                  <a:gd name="T0" fmla="*/ 39 w 49"/>
                  <a:gd name="T1" fmla="*/ 27 h 49"/>
                  <a:gd name="T2" fmla="*/ 17 w 49"/>
                  <a:gd name="T3" fmla="*/ 29 h 49"/>
                  <a:gd name="T4" fmla="*/ 38 w 49"/>
                  <a:gd name="T5" fmla="*/ 4 h 49"/>
                  <a:gd name="T6" fmla="*/ 25 w 49"/>
                  <a:gd name="T7" fmla="*/ 0 h 49"/>
                  <a:gd name="T8" fmla="*/ 0 w 49"/>
                  <a:gd name="T9" fmla="*/ 25 h 49"/>
                  <a:gd name="T10" fmla="*/ 25 w 49"/>
                  <a:gd name="T11" fmla="*/ 49 h 49"/>
                  <a:gd name="T12" fmla="*/ 49 w 49"/>
                  <a:gd name="T13" fmla="*/ 25 h 49"/>
                  <a:gd name="T14" fmla="*/ 48 w 49"/>
                  <a:gd name="T15" fmla="*/ 17 h 49"/>
                  <a:gd name="T16" fmla="*/ 39 w 49"/>
                  <a:gd name="T17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39" y="27"/>
                    </a:moveTo>
                    <a:cubicBezTo>
                      <a:pt x="17" y="29"/>
                      <a:pt x="17" y="29"/>
                      <a:pt x="17" y="29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0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38"/>
                      <a:pt x="11" y="49"/>
                      <a:pt x="25" y="49"/>
                    </a:cubicBezTo>
                    <a:cubicBezTo>
                      <a:pt x="38" y="49"/>
                      <a:pt x="49" y="38"/>
                      <a:pt x="49" y="25"/>
                    </a:cubicBezTo>
                    <a:cubicBezTo>
                      <a:pt x="49" y="22"/>
                      <a:pt x="49" y="19"/>
                      <a:pt x="48" y="17"/>
                    </a:cubicBezTo>
                    <a:lnTo>
                      <a:pt x="39" y="27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27">
                <a:extLst>
                  <a:ext uri="{FF2B5EF4-FFF2-40B4-BE49-F238E27FC236}">
                    <a16:creationId xmlns:a16="http://schemas.microsoft.com/office/drawing/2014/main" id="{CBBBB8A2-C2E7-4563-A8F2-836920A0F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813" y="2603501"/>
                <a:ext cx="538163" cy="539750"/>
              </a:xfrm>
              <a:custGeom>
                <a:avLst/>
                <a:gdLst>
                  <a:gd name="T0" fmla="*/ 113 w 144"/>
                  <a:gd name="T1" fmla="*/ 45 h 144"/>
                  <a:gd name="T2" fmla="*/ 121 w 144"/>
                  <a:gd name="T3" fmla="*/ 72 h 144"/>
                  <a:gd name="T4" fmla="*/ 72 w 144"/>
                  <a:gd name="T5" fmla="*/ 121 h 144"/>
                  <a:gd name="T6" fmla="*/ 23 w 144"/>
                  <a:gd name="T7" fmla="*/ 72 h 144"/>
                  <a:gd name="T8" fmla="*/ 72 w 144"/>
                  <a:gd name="T9" fmla="*/ 23 h 144"/>
                  <a:gd name="T10" fmla="*/ 103 w 144"/>
                  <a:gd name="T11" fmla="*/ 34 h 144"/>
                  <a:gd name="T12" fmla="*/ 117 w 144"/>
                  <a:gd name="T13" fmla="*/ 16 h 144"/>
                  <a:gd name="T14" fmla="*/ 72 w 144"/>
                  <a:gd name="T15" fmla="*/ 0 h 144"/>
                  <a:gd name="T16" fmla="*/ 0 w 144"/>
                  <a:gd name="T17" fmla="*/ 72 h 144"/>
                  <a:gd name="T18" fmla="*/ 72 w 144"/>
                  <a:gd name="T19" fmla="*/ 144 h 144"/>
                  <a:gd name="T20" fmla="*/ 144 w 144"/>
                  <a:gd name="T21" fmla="*/ 72 h 144"/>
                  <a:gd name="T22" fmla="*/ 128 w 144"/>
                  <a:gd name="T23" fmla="*/ 27 h 144"/>
                  <a:gd name="T24" fmla="*/ 113 w 144"/>
                  <a:gd name="T25" fmla="*/ 4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44">
                    <a:moveTo>
                      <a:pt x="113" y="45"/>
                    </a:moveTo>
                    <a:cubicBezTo>
                      <a:pt x="118" y="53"/>
                      <a:pt x="121" y="62"/>
                      <a:pt x="121" y="72"/>
                    </a:cubicBezTo>
                    <a:cubicBezTo>
                      <a:pt x="121" y="99"/>
                      <a:pt x="99" y="121"/>
                      <a:pt x="72" y="121"/>
                    </a:cubicBezTo>
                    <a:cubicBezTo>
                      <a:pt x="45" y="121"/>
                      <a:pt x="23" y="99"/>
                      <a:pt x="23" y="72"/>
                    </a:cubicBezTo>
                    <a:cubicBezTo>
                      <a:pt x="23" y="45"/>
                      <a:pt x="45" y="23"/>
                      <a:pt x="72" y="23"/>
                    </a:cubicBezTo>
                    <a:cubicBezTo>
                      <a:pt x="84" y="23"/>
                      <a:pt x="94" y="27"/>
                      <a:pt x="103" y="34"/>
                    </a:cubicBezTo>
                    <a:cubicBezTo>
                      <a:pt x="117" y="16"/>
                      <a:pt x="117" y="16"/>
                      <a:pt x="117" y="16"/>
                    </a:cubicBezTo>
                    <a:cubicBezTo>
                      <a:pt x="105" y="6"/>
                      <a:pt x="89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111"/>
                      <a:pt x="32" y="144"/>
                      <a:pt x="72" y="144"/>
                    </a:cubicBezTo>
                    <a:cubicBezTo>
                      <a:pt x="111" y="144"/>
                      <a:pt x="144" y="111"/>
                      <a:pt x="144" y="72"/>
                    </a:cubicBezTo>
                    <a:cubicBezTo>
                      <a:pt x="144" y="55"/>
                      <a:pt x="138" y="39"/>
                      <a:pt x="128" y="27"/>
                    </a:cubicBezTo>
                    <a:lnTo>
                      <a:pt x="113" y="45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28">
                <a:extLst>
                  <a:ext uri="{FF2B5EF4-FFF2-40B4-BE49-F238E27FC236}">
                    <a16:creationId xmlns:a16="http://schemas.microsoft.com/office/drawing/2014/main" id="{ED29AF4C-E23F-482F-B146-4E166B03F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525" y="2441576"/>
                <a:ext cx="374650" cy="447675"/>
              </a:xfrm>
              <a:custGeom>
                <a:avLst/>
                <a:gdLst>
                  <a:gd name="T0" fmla="*/ 236 w 236"/>
                  <a:gd name="T1" fmla="*/ 50 h 282"/>
                  <a:gd name="T2" fmla="*/ 181 w 236"/>
                  <a:gd name="T3" fmla="*/ 55 h 282"/>
                  <a:gd name="T4" fmla="*/ 177 w 236"/>
                  <a:gd name="T5" fmla="*/ 0 h 282"/>
                  <a:gd name="T6" fmla="*/ 132 w 236"/>
                  <a:gd name="T7" fmla="*/ 55 h 282"/>
                  <a:gd name="T8" fmla="*/ 127 w 236"/>
                  <a:gd name="T9" fmla="*/ 95 h 282"/>
                  <a:gd name="T10" fmla="*/ 5 w 236"/>
                  <a:gd name="T11" fmla="*/ 248 h 282"/>
                  <a:gd name="T12" fmla="*/ 0 w 236"/>
                  <a:gd name="T13" fmla="*/ 282 h 282"/>
                  <a:gd name="T14" fmla="*/ 33 w 236"/>
                  <a:gd name="T15" fmla="*/ 270 h 282"/>
                  <a:gd name="T16" fmla="*/ 156 w 236"/>
                  <a:gd name="T17" fmla="*/ 116 h 282"/>
                  <a:gd name="T18" fmla="*/ 193 w 236"/>
                  <a:gd name="T19" fmla="*/ 104 h 282"/>
                  <a:gd name="T20" fmla="*/ 236 w 236"/>
                  <a:gd name="T21" fmla="*/ 5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6" h="282">
                    <a:moveTo>
                      <a:pt x="236" y="50"/>
                    </a:moveTo>
                    <a:lnTo>
                      <a:pt x="181" y="55"/>
                    </a:lnTo>
                    <a:lnTo>
                      <a:pt x="177" y="0"/>
                    </a:lnTo>
                    <a:lnTo>
                      <a:pt x="132" y="55"/>
                    </a:lnTo>
                    <a:lnTo>
                      <a:pt x="127" y="95"/>
                    </a:lnTo>
                    <a:lnTo>
                      <a:pt x="5" y="248"/>
                    </a:lnTo>
                    <a:lnTo>
                      <a:pt x="0" y="282"/>
                    </a:lnTo>
                    <a:lnTo>
                      <a:pt x="33" y="270"/>
                    </a:lnTo>
                    <a:lnTo>
                      <a:pt x="156" y="116"/>
                    </a:lnTo>
                    <a:lnTo>
                      <a:pt x="193" y="104"/>
                    </a:lnTo>
                    <a:lnTo>
                      <a:pt x="236" y="50"/>
                    </a:lnTo>
                    <a:close/>
                  </a:path>
                </a:pathLst>
              </a:custGeom>
              <a:solidFill>
                <a:srgbClr val="4E5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391038"/>
            <a:ext cx="9498521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8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5090561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ul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393686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 dirty="0">
                <a:solidFill>
                  <a:schemeClr val="tx1"/>
                </a:solidFill>
              </a:rPr>
              <a:t>Now, you should be able to: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0761A54-E216-401E-AC66-9FF0A823E32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3505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4" y="1391038"/>
            <a:ext cx="8945464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8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5039265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393686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 dirty="0">
                <a:solidFill>
                  <a:schemeClr val="tx1"/>
                </a:solidFill>
              </a:rPr>
              <a:t>Now, you should be able to: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97B96F3-DA86-4FDE-BC95-BFD62F816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8527" y="1391038"/>
            <a:ext cx="2500410" cy="248924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BE764B1-A4D0-4710-8E22-5645507600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59595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2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BFE467-960F-4BDC-9CE3-F34B31FB09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59722" y="937418"/>
            <a:ext cx="4309200" cy="452466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135A376-69E5-460B-9086-BE79884E71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D7AE8EE-F65A-45EF-9FD0-6C5431C1E2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D5E0475E-91D3-4EE9-A5F3-1B737F5E5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F294F89-9A42-4DEF-B3DD-823E9A1CD6F5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EED4950-8142-456B-BAF6-DF98D8FB6E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457200"/>
            <a:ext cx="5950190" cy="3086100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5A61E07-8F52-4DDB-95AC-E189929351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059" y="3543303"/>
            <a:ext cx="5950190" cy="2910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6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27E5B-DAD9-4B7E-93F1-E0058A1069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9779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nd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391038"/>
            <a:ext cx="11438819" cy="50673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1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4196918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ound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Ru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759042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 dirty="0">
                <a:solidFill>
                  <a:schemeClr val="tx1"/>
                </a:solidFill>
              </a:rPr>
              <a:t>For a successful class, please: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91B16C-0FEA-4DCB-8E69-328B4CDC3D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3171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E7C258CA-0456-45F5-9CA6-5795AA6DC53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0116" y="1065244"/>
            <a:ext cx="11430883" cy="5402423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4543616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BF06CF-75DD-4A1B-9B01-BDF739C89EF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9472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4543616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A855C29B-7F59-4882-B36E-314A66075955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31780" y="1389937"/>
            <a:ext cx="5383828" cy="44323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Table Placeholder 2">
            <a:extLst>
              <a:ext uri="{FF2B5EF4-FFF2-40B4-BE49-F238E27FC236}">
                <a16:creationId xmlns:a16="http://schemas.microsoft.com/office/drawing/2014/main" id="{E1405860-43FA-47D0-8EAD-3A6B6AA6B145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127102" y="1389937"/>
            <a:ext cx="5383828" cy="44323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37081F-CF4E-4842-8B34-CC22D03DBB7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7538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4">
            <a:extLst>
              <a:ext uri="{FF2B5EF4-FFF2-40B4-BE49-F238E27FC236}">
                <a16:creationId xmlns:a16="http://schemas.microsoft.com/office/drawing/2014/main" id="{46E1A224-70CA-4207-A7F7-FF1C56BBF1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0716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9" name="Text Placeholder 44">
            <a:extLst>
              <a:ext uri="{FF2B5EF4-FFF2-40B4-BE49-F238E27FC236}">
                <a16:creationId xmlns:a16="http://schemas.microsoft.com/office/drawing/2014/main" id="{AA9ED986-3255-4C0F-A456-65EA6AF03AD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24549" y="358356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0" name="Text Placeholder 44">
            <a:extLst>
              <a:ext uri="{FF2B5EF4-FFF2-40B4-BE49-F238E27FC236}">
                <a16:creationId xmlns:a16="http://schemas.microsoft.com/office/drawing/2014/main" id="{50B9EC24-6A0F-4E8E-A53B-FA05857743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38384" y="3588203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1" name="Text Placeholder 44">
            <a:extLst>
              <a:ext uri="{FF2B5EF4-FFF2-40B4-BE49-F238E27FC236}">
                <a16:creationId xmlns:a16="http://schemas.microsoft.com/office/drawing/2014/main" id="{F25F7921-38DB-444E-94C5-24E3DBA2C9F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10716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2" name="Text Placeholder 44">
            <a:extLst>
              <a:ext uri="{FF2B5EF4-FFF2-40B4-BE49-F238E27FC236}">
                <a16:creationId xmlns:a16="http://schemas.microsoft.com/office/drawing/2014/main" id="{6857EC5C-8356-46E8-B8F5-B926971D0E6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24549" y="1600631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3" name="Text Placeholder 44">
            <a:extLst>
              <a:ext uri="{FF2B5EF4-FFF2-40B4-BE49-F238E27FC236}">
                <a16:creationId xmlns:a16="http://schemas.microsoft.com/office/drawing/2014/main" id="{E0063B6D-42C7-426C-B4DB-561E5ACD059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38384" y="160527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BB04EF9-7B11-4931-B01F-5538A059B39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02461" y="230446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546B8E-6D27-4FFC-A84C-8EE884B1E60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94206" y="428739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24D5403-E6AC-479D-863C-9BC1FDFFB2B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816294" y="427162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E812A7-4699-46BF-B9D1-CE52A90A98D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30127" y="426978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96FC0B-4A59-4F7A-B9C7-3DD1C84E57C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24549" y="228869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4C2034D-2E80-484B-A43B-BFB689B79FA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238382" y="228685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6351D2-B287-443D-95CC-5DBE83EA91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970146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DB13008-3D2A-4B84-BD4A-D4077C13C6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endParaRPr lang="en-GB" dirty="0"/>
          </a:p>
        </p:txBody>
      </p:sp>
      <p:sp>
        <p:nvSpPr>
          <p:cNvPr id="29" name="Slide Number Placeholder 9">
            <a:extLst>
              <a:ext uri="{FF2B5EF4-FFF2-40B4-BE49-F238E27FC236}">
                <a16:creationId xmlns:a16="http://schemas.microsoft.com/office/drawing/2014/main" id="{326B09D9-9119-4F39-B99B-29BAA42108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2" y="6519009"/>
            <a:ext cx="385711" cy="2063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alpha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Shape 427">
            <a:extLst>
              <a:ext uri="{FF2B5EF4-FFF2-40B4-BE49-F238E27FC236}">
                <a16:creationId xmlns:a16="http://schemas.microsoft.com/office/drawing/2014/main" id="{D2171CE2-AC8D-40F5-8EC1-86AC00CC38C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6341" y="126274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6" name="Shape 427">
            <a:extLst>
              <a:ext uri="{FF2B5EF4-FFF2-40B4-BE49-F238E27FC236}">
                <a16:creationId xmlns:a16="http://schemas.microsoft.com/office/drawing/2014/main" id="{D2F44EE3-B5DC-4384-AE96-6A9C53C887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9020" y="1262744"/>
            <a:ext cx="467321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7" name="Shape 427">
            <a:extLst>
              <a:ext uri="{FF2B5EF4-FFF2-40B4-BE49-F238E27FC236}">
                <a16:creationId xmlns:a16="http://schemas.microsoft.com/office/drawing/2014/main" id="{DB8280B4-53DC-4B0D-B130-DC701C09094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46341" y="1771386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9" name="Shape 427">
            <a:extLst>
              <a:ext uri="{FF2B5EF4-FFF2-40B4-BE49-F238E27FC236}">
                <a16:creationId xmlns:a16="http://schemas.microsoft.com/office/drawing/2014/main" id="{F9442AC2-89B6-45D1-A507-FDE7C90FB5C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79021" y="1771386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41" name="Shape 427">
            <a:extLst>
              <a:ext uri="{FF2B5EF4-FFF2-40B4-BE49-F238E27FC236}">
                <a16:creationId xmlns:a16="http://schemas.microsoft.com/office/drawing/2014/main" id="{1A2DBAF8-35DB-44D2-88D2-AE8EFBCB6C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46341" y="2280028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2" name="Shape 427">
            <a:extLst>
              <a:ext uri="{FF2B5EF4-FFF2-40B4-BE49-F238E27FC236}">
                <a16:creationId xmlns:a16="http://schemas.microsoft.com/office/drawing/2014/main" id="{47504910-6C5B-4FAF-9446-919407FA737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9021" y="2280028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4" name="Shape 427">
            <a:extLst>
              <a:ext uri="{FF2B5EF4-FFF2-40B4-BE49-F238E27FC236}">
                <a16:creationId xmlns:a16="http://schemas.microsoft.com/office/drawing/2014/main" id="{F9886ABF-396F-4A60-BF49-626CC12002F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46341" y="2788670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6" name="Shape 427">
            <a:extLst>
              <a:ext uri="{FF2B5EF4-FFF2-40B4-BE49-F238E27FC236}">
                <a16:creationId xmlns:a16="http://schemas.microsoft.com/office/drawing/2014/main" id="{395BB10A-E932-4830-A4A3-4D410B3ADDE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79021" y="2788670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7" name="Shape 427">
            <a:extLst>
              <a:ext uri="{FF2B5EF4-FFF2-40B4-BE49-F238E27FC236}">
                <a16:creationId xmlns:a16="http://schemas.microsoft.com/office/drawing/2014/main" id="{7E942366-2192-4B05-A6EB-D93C1E97A3F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46341" y="3297312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9" name="Shape 427">
            <a:extLst>
              <a:ext uri="{FF2B5EF4-FFF2-40B4-BE49-F238E27FC236}">
                <a16:creationId xmlns:a16="http://schemas.microsoft.com/office/drawing/2014/main" id="{D0383E7A-23E0-47FE-B5B7-75CB34DA9A1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79021" y="3297312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1" name="Shape 427">
            <a:extLst>
              <a:ext uri="{FF2B5EF4-FFF2-40B4-BE49-F238E27FC236}">
                <a16:creationId xmlns:a16="http://schemas.microsoft.com/office/drawing/2014/main" id="{71DF1DCC-CC9A-4C30-B6AE-65711D5601D4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46341" y="380595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2" name="Shape 427">
            <a:extLst>
              <a:ext uri="{FF2B5EF4-FFF2-40B4-BE49-F238E27FC236}">
                <a16:creationId xmlns:a16="http://schemas.microsoft.com/office/drawing/2014/main" id="{A7CB5064-D7F7-494D-9A5D-2E407F1B3C7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79021" y="3805954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4" name="Shape 427">
            <a:extLst>
              <a:ext uri="{FF2B5EF4-FFF2-40B4-BE49-F238E27FC236}">
                <a16:creationId xmlns:a16="http://schemas.microsoft.com/office/drawing/2014/main" id="{4D295C50-974F-406E-8616-DC5565F1533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46341" y="4314596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56" name="Shape 427">
            <a:extLst>
              <a:ext uri="{FF2B5EF4-FFF2-40B4-BE49-F238E27FC236}">
                <a16:creationId xmlns:a16="http://schemas.microsoft.com/office/drawing/2014/main" id="{600A9DE0-F829-4091-9295-3A04AF7E05C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79021" y="4314596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Shape 427">
            <a:extLst>
              <a:ext uri="{FF2B5EF4-FFF2-40B4-BE49-F238E27FC236}">
                <a16:creationId xmlns:a16="http://schemas.microsoft.com/office/drawing/2014/main" id="{2B29C532-5627-4984-A17D-D76475DC42A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46341" y="4823238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9" name="Shape 427">
            <a:extLst>
              <a:ext uri="{FF2B5EF4-FFF2-40B4-BE49-F238E27FC236}">
                <a16:creationId xmlns:a16="http://schemas.microsoft.com/office/drawing/2014/main" id="{A2183BD6-FF17-4990-8FE8-AE86F92690D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79021" y="4823238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Shape 427">
            <a:extLst>
              <a:ext uri="{FF2B5EF4-FFF2-40B4-BE49-F238E27FC236}">
                <a16:creationId xmlns:a16="http://schemas.microsoft.com/office/drawing/2014/main" id="{061C40C9-DE1D-4510-8EE0-6F5CF1B82D3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46341" y="5331880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2" name="Shape 427">
            <a:extLst>
              <a:ext uri="{FF2B5EF4-FFF2-40B4-BE49-F238E27FC236}">
                <a16:creationId xmlns:a16="http://schemas.microsoft.com/office/drawing/2014/main" id="{949BE901-1343-4076-80D1-C1A9CB29F59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79021" y="5331880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4" name="Shape 427">
            <a:extLst>
              <a:ext uri="{FF2B5EF4-FFF2-40B4-BE49-F238E27FC236}">
                <a16:creationId xmlns:a16="http://schemas.microsoft.com/office/drawing/2014/main" id="{3ACC419B-825D-4054-AAFB-E87C7CB075D7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46341" y="584052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6" name="Shape 427">
            <a:extLst>
              <a:ext uri="{FF2B5EF4-FFF2-40B4-BE49-F238E27FC236}">
                <a16:creationId xmlns:a16="http://schemas.microsoft.com/office/drawing/2014/main" id="{0E44AA5D-B04F-466C-9084-0582EECD3F5F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79021" y="5840524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6EFB099-9416-4CC5-93A4-453143F811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320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055914"/>
            <a:ext cx="11437937" cy="5402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5133970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F80F6A-A93E-4C57-B99C-15A3DB10BD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48453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2965812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opic </a:t>
            </a:r>
            <a:r>
              <a:rPr lang="en-US" sz="3600" b="0" kern="1200" cap="all" baseline="0" dirty="0">
                <a:solidFill>
                  <a:srgbClr val="A700E6"/>
                </a:solidFill>
                <a:latin typeface="+mj-lt"/>
                <a:ea typeface="+mj-ea"/>
                <a:cs typeface="+mj-cs"/>
              </a:rPr>
              <a:t>List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91C9367B-8E61-4325-845F-EA23F2E39DE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088165" y="1109663"/>
            <a:ext cx="6015671" cy="48990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73E71B-8E8B-418C-8C9D-CAADAE88F2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66409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55C4B40-0AAA-4530-BDE6-D3F2C9DBA7A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6E3B53-4A09-42A8-A4D5-D2EAE01B68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0117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 (Topic and Sub-to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391038"/>
            <a:ext cx="11437937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4562A4-B942-4166-AC75-3BA6998DDDB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4771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 (Topic, Sub-topic and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828800"/>
            <a:ext cx="11437937" cy="46295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A4713EB-8A98-4809-932D-73C4DABAD4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39848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46CAB8-5F02-4F75-91F5-09589A3328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4434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2E049B9-5165-4301-9498-5DF0A980A5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02CD016-B833-4D36-A543-5968C0517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060" y="4218766"/>
            <a:ext cx="6777975" cy="20824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6BC192A-2684-4550-BAC0-0A3EA6BE13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77503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764C110-129C-47A9-A5B4-FE8461998B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7242883-7ED8-4C1B-931A-47FD3A091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D2D8753-F5B7-415E-94C8-12C5A7A87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B1C54B3-9461-4230-BE95-69C5FB1E4B8D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B1F6BB-B266-4053-BB43-522174CCB9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916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 (2-column without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F0E84C4E-2514-4AA0-8927-802E6E40FB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3063" y="1390244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C443D5FC-0C36-44DC-9556-2B1562D4642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64405" y="1387588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86ADCF-FC62-4011-8E8C-1375176138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422089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 (2-column with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AC6D44A-CC4D-4B1C-A8F8-784D9565B6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064" y="1398489"/>
            <a:ext cx="5548312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C08F6D1-F4F0-4FD3-80B2-F864C35476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3905" y="1392718"/>
            <a:ext cx="5577095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6EA2278-E384-46F0-AA75-C5B2389DD11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3063" y="1828779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48136356-513A-49D6-BFA8-09B174361F2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33115" y="1828779"/>
            <a:ext cx="5577095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54CDAA-6DDA-437C-B0B2-09650C15A6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454942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5 (Long title with Topic and Sub-topic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791476"/>
            <a:ext cx="11437937" cy="46295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4F882F-F0DB-4A20-B0D1-7082BD537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1371598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5243B9-9552-4636-AFCD-0124093A92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68948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5 (Long title with Topic, Sub-topic and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2227812"/>
            <a:ext cx="11437937" cy="419320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4F882F-F0DB-4A20-B0D1-7082BD537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1371598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F6D9BF5-C212-4161-90B8-9AEAC98C5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799705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F1CA65-5CA2-483C-A340-C1AD6A6F4A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68758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1943099"/>
            <a:ext cx="11430000" cy="42338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9BA48AF-B71B-48C6-AF26-D04B6769B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B5FB249-9155-4549-8505-342C42B128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342A2E1-34F4-4EDC-BD9F-4F2F50686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389722"/>
            <a:ext cx="11437937" cy="5334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Table descrip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EBCD83-4406-4180-902C-48C5D08725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388700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2427776"/>
            <a:ext cx="11430000" cy="37491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CC8C66A-3585-4926-A6F1-0519632E5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B8EAA82-637A-4CF2-842E-D481B8B4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F2C48DF-45D7-4001-A3CD-163C99111F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39848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284317-2D2E-42D8-AF22-65BE86DCE5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117" y="1845259"/>
            <a:ext cx="11437937" cy="5334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Table descrip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775D4A-559F-427F-9C79-14972A35A5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4797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9BA48AF-B71B-48C6-AF26-D04B6769B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B5FB249-9155-4549-8505-342C42B128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342A2E1-34F4-4EDC-BD9F-4F2F50686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389722"/>
            <a:ext cx="11437937" cy="4431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Image description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46FF0A0-C5FC-41B8-9E9C-72109FCA02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3776" y="1832838"/>
            <a:ext cx="11445161" cy="462139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78003B-BBCA-4650-AF44-BA52EEC3CA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87904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B461C13-4952-41E7-AEED-05835068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B60BC8-7C34-4B80-91CA-6B24230CC8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58A52E3-6241-46BB-8A73-4C614DECB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4A6100-00D7-4EBF-9D59-8390E659A3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418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2EDDB10-8E3D-4F19-9D3D-8C045B33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149" y="2677107"/>
            <a:ext cx="8641702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ctr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A100FF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5EB27-FCD2-4584-A9B5-374ACA0D37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10607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6FF60AA-98EB-4628-8B04-E0C666DAD0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885392"/>
            <a:ext cx="4309200" cy="463239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764C110-129C-47A9-A5B4-FE8461998B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7242883-7ED8-4C1B-931A-47FD3A091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D2D8753-F5B7-415E-94C8-12C5A7A87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B1C54B3-9461-4230-BE95-69C5FB1E4B8D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616C387-6715-47CE-8D3F-A1CCDADF72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060" y="4218766"/>
            <a:ext cx="6777975" cy="20824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A43E03-A4E3-4574-A432-E155E49FE7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77503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BEA169-0D2D-4657-811D-69BBCE222C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5263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C2B7F6C-64D5-4E8E-8338-957891460A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8B49144-8DDB-4350-BBB6-4182E3EF713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81BC244-8BAD-4410-B17C-2A545DB54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3DD0744C-866A-465B-A9A8-8CDB1CDFA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E150A08-AEB5-491F-9AA1-BE9B264B13B1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D44E12A-AF3A-431F-8CD1-F295AE7CE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060" y="4218766"/>
            <a:ext cx="6777975" cy="20824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28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5C0F8248-C274-4474-9E8D-0C522C53A5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77503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928F0F5-52CA-4EA4-BACA-C4E68355A9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0339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3BEA8FFF-5504-454F-8988-2A6D7FEDC5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78891" y="2129720"/>
            <a:ext cx="3431200" cy="35121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lang="en-US" sz="3600" b="0" kern="1200" cap="all" baseline="0" dirty="0">
                <a:solidFill>
                  <a:srgbClr val="A700E6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AB9C300-F20C-4C0F-BBC5-FF0B9B81D9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30848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0EE471-4212-42F4-924F-E0F65CCD73C7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AFE67B-3601-4142-B610-E31A55AAA46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8C61CA-A27A-4061-8E7E-75862281E89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964F940-A101-4E56-8544-D36089224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74B84FE-E87B-419D-A29D-5289CCC69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3168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0" pos="60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CE7D0E3-1DCE-4BFA-92F6-9E4B6C71C0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885392"/>
            <a:ext cx="4309200" cy="463239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10068CC-3770-41A1-885C-5A65057069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9499248-F7DE-450F-8892-776CF43A5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5E7C6E69-ECFA-4F72-A532-2F6EE57DD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A65DE97F-2CB6-4560-80CA-C9D0438A4E2C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C43721-444D-46FA-B837-E1AC35B988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78891" y="2129720"/>
            <a:ext cx="3431200" cy="35121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lang="en-US" sz="3600" b="0" kern="1200" cap="all" baseline="0" dirty="0">
                <a:solidFill>
                  <a:srgbClr val="A700E6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A54E503-83B9-438F-B77A-B6B9A0F222A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30848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A93704-2BC4-41A3-AFF4-7500CE2D48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510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18B036A-2820-40F4-AB85-DABAC22434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6960" y="939257"/>
            <a:ext cx="4309200" cy="452466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B068B-123A-4A57-BC17-993C19F9517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F30DBBD-10E2-4C3F-ABAD-802B8B2F9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57598E6C-27F1-4790-AD47-C101AAA08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B15EDC7-B485-4A65-9C1A-320CFCB309A4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 dirty="0"/>
              <a:t>Learning and Knowledge Managemen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D41110C-4032-43AF-950E-5542F9B7A5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78891" y="2129720"/>
            <a:ext cx="3431200" cy="35121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lang="en-US" sz="3600" b="0" kern="1200" cap="all" baseline="0" dirty="0">
                <a:solidFill>
                  <a:srgbClr val="A700E6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20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3B1C33E-C0E3-41FA-ADB4-C450983020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2204368"/>
            <a:ext cx="6730848" cy="1902426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C5D46C-A356-4F60-9AFF-FF5051F543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46498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9 - Dark Blan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1BCFFE-218A-4A7E-ADA8-69A252D2EB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7" y="1"/>
            <a:ext cx="12178884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EB647BC-27F3-4CF2-AF9D-D015AF290B09}"/>
              </a:ext>
            </a:extLst>
          </p:cNvPr>
          <p:cNvSpPr/>
          <p:nvPr userDrawn="1"/>
        </p:nvSpPr>
        <p:spPr>
          <a:xfrm>
            <a:off x="9527" y="0"/>
            <a:ext cx="12172946" cy="6857999"/>
          </a:xfrm>
          <a:prstGeom prst="rect">
            <a:avLst/>
          </a:prstGeom>
          <a:solidFill>
            <a:srgbClr val="000C1D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04793B-B8BA-4274-AF8C-3E6C19C879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5060" y="457200"/>
            <a:ext cx="5950190" cy="3086100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3706D36-9FA8-49D3-BB5B-1BC37E5631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122" y="3543303"/>
            <a:ext cx="5956127" cy="29109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000" b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54181F-6B29-4D14-B1ED-9BF2EC4A17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D6EADDE-99FF-4BC8-87DA-6261696FD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CE031E4-01BF-45B8-B115-CA636DF35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F43B3D2E-A3BA-4C92-8BB6-D76F9ECBD66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47741" y="937439"/>
            <a:ext cx="4309200" cy="45246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37BA114-F0EE-4F6D-B82D-9D08A54AB3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80117" y="6454232"/>
            <a:ext cx="3071355" cy="25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lvl1pPr marL="342900" indent="-3429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050" dirty="0">
                <a:latin typeface="Arial" pitchFamily="34" charset="0"/>
                <a:cs typeface="Arial" panose="020B0604020202020204" pitchFamily="34" charset="0"/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4243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75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08" r:id="rId6"/>
    <p:sldLayoutId id="2147483709" r:id="rId7"/>
    <p:sldLayoutId id="2147483710" r:id="rId8"/>
    <p:sldLayoutId id="2147483726" r:id="rId9"/>
    <p:sldLayoutId id="2147483728" r:id="rId10"/>
    <p:sldLayoutId id="2147483768" r:id="rId11"/>
    <p:sldLayoutId id="2147483727" r:id="rId12"/>
    <p:sldLayoutId id="2147483729" r:id="rId13"/>
    <p:sldLayoutId id="2147483763" r:id="rId14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44" r:id="rId2"/>
    <p:sldLayoutId id="2147483741" r:id="rId3"/>
    <p:sldLayoutId id="2147483745" r:id="rId4"/>
    <p:sldLayoutId id="2147483746" r:id="rId5"/>
    <p:sldLayoutId id="2147483748" r:id="rId6"/>
    <p:sldLayoutId id="2147483743" r:id="rId7"/>
    <p:sldLayoutId id="2147483766" r:id="rId8"/>
    <p:sldLayoutId id="2147483758" r:id="rId9"/>
    <p:sldLayoutId id="2147483761" r:id="rId10"/>
    <p:sldLayoutId id="2147483750" r:id="rId11"/>
    <p:sldLayoutId id="2147483765" r:id="rId12"/>
    <p:sldLayoutId id="2147483767" r:id="rId13"/>
    <p:sldLayoutId id="2147483749" r:id="rId14"/>
    <p:sldLayoutId id="2147483754" r:id="rId15"/>
    <p:sldLayoutId id="2147483753" r:id="rId16"/>
    <p:sldLayoutId id="2147483755" r:id="rId17"/>
    <p:sldLayoutId id="2147483752" r:id="rId18"/>
    <p:sldLayoutId id="2147483764" r:id="rId19"/>
    <p:sldLayoutId id="2147483759" r:id="rId20"/>
    <p:sldLayoutId id="2147483760" r:id="rId21"/>
    <p:sldLayoutId id="2147483762" r:id="rId22"/>
    <p:sldLayoutId id="2147483702" r:id="rId23"/>
    <p:sldLayoutId id="2147483757" r:id="rId24"/>
    <p:sldLayoutId id="2147483664" r:id="rId25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B58ED5-8ADA-4566-A831-B64ADFEF9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354" y="2580777"/>
            <a:ext cx="5950190" cy="2910930"/>
          </a:xfrm>
        </p:spPr>
        <p:txBody>
          <a:bodyPr/>
          <a:lstStyle/>
          <a:p>
            <a:r>
              <a:rPr lang="en-US" dirty="0"/>
              <a:t>Data processing</a:t>
            </a:r>
          </a:p>
        </p:txBody>
      </p:sp>
    </p:spTree>
    <p:extLst>
      <p:ext uri="{BB962C8B-B14F-4D97-AF65-F5344CB8AC3E}">
        <p14:creationId xmlns:p14="http://schemas.microsoft.com/office/powerpoint/2010/main" val="25891172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ext Placeholder 1">
            <a:extLst>
              <a:ext uri="{FF2B5EF4-FFF2-40B4-BE49-F238E27FC236}">
                <a16:creationId xmlns:a16="http://schemas.microsoft.com/office/drawing/2014/main" id="{C7865D32-D53B-463F-9CB1-B4A1CE57C5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Questions</a:t>
            </a:r>
            <a:endParaRPr lang="en-US" altLang="en-US" sz="32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040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D705DB-FE44-4FB9-AD07-0C664F495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228443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C364F5B-36C4-4176-A534-1E24EC77F4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/>
              <a:t>Batch Proc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/>
              <a:t>Real Time Proc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/>
              <a:t>Batch Vs Real time processing</a:t>
            </a:r>
          </a:p>
        </p:txBody>
      </p:sp>
    </p:spTree>
    <p:extLst>
      <p:ext uri="{BB962C8B-B14F-4D97-AF65-F5344CB8AC3E}">
        <p14:creationId xmlns:p14="http://schemas.microsoft.com/office/powerpoint/2010/main" val="3410079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785" y="858443"/>
          <a:ext cx="1586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6785" y="858443"/>
                        <a:ext cx="1586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 txBox="1">
            <a:spLocks/>
          </p:cNvSpPr>
          <p:nvPr/>
        </p:nvSpPr>
        <p:spPr>
          <a:xfrm>
            <a:off x="9774113" y="5768316"/>
            <a:ext cx="547688" cy="96441"/>
          </a:xfrm>
          <a:prstGeom prst="rect">
            <a:avLst/>
          </a:prstGeom>
        </p:spPr>
        <p:txBody>
          <a:bodyPr vert="horz" wrap="square" lIns="91424" tIns="45712" rIns="0" bIns="4571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750" dirty="0">
                <a:solidFill>
                  <a:srgbClr val="778888"/>
                </a:solidFill>
              </a:rPr>
              <a:t>3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5371FED-A3FC-4D15-8CC6-968C9DC28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defTabSz="912813">
              <a:lnSpc>
                <a:spcPct val="90000"/>
              </a:lnSpc>
              <a:defRPr/>
            </a:pPr>
            <a:r>
              <a:rPr lang="en-US" altLang="en-US" spc="-133" dirty="0">
                <a:cs typeface="Arial" panose="020B0604020202020204" pitchFamily="34" charset="0"/>
              </a:rPr>
              <a:t>Every now and then, almost in every corner of the world….. This happens..!!</a:t>
            </a:r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27EE5D92-9068-4976-8C9F-FB2DF3A176F5}"/>
              </a:ext>
            </a:extLst>
          </p:cNvPr>
          <p:cNvGrpSpPr>
            <a:grpSpLocks/>
          </p:cNvGrpSpPr>
          <p:nvPr/>
        </p:nvGrpSpPr>
        <p:grpSpPr bwMode="auto">
          <a:xfrm>
            <a:off x="3677264" y="1536086"/>
            <a:ext cx="3429000" cy="841375"/>
            <a:chOff x="2133600" y="1555750"/>
            <a:chExt cx="3429000" cy="841375"/>
          </a:xfrm>
        </p:grpSpPr>
        <p:sp>
          <p:nvSpPr>
            <p:cNvPr id="10" name="Thought Bubble: Cloud 5">
              <a:extLst>
                <a:ext uri="{FF2B5EF4-FFF2-40B4-BE49-F238E27FC236}">
                  <a16:creationId xmlns:a16="http://schemas.microsoft.com/office/drawing/2014/main" id="{5AF8A88B-5002-4FB1-85D2-29A3AB7CB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3600" y="1555750"/>
              <a:ext cx="3429000" cy="841375"/>
            </a:xfrm>
            <a:prstGeom prst="cloudCallout">
              <a:avLst>
                <a:gd name="adj1" fmla="val -44088"/>
                <a:gd name="adj2" fmla="val 163662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11" name="TextBox 7">
              <a:extLst>
                <a:ext uri="{FF2B5EF4-FFF2-40B4-BE49-F238E27FC236}">
                  <a16:creationId xmlns:a16="http://schemas.microsoft.com/office/drawing/2014/main" id="{83BC637F-D7D4-4FF5-8C30-68AF602BB4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20938" y="1733550"/>
              <a:ext cx="3060700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Hey Bob..! Why everybody prefers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buying products online?</a:t>
              </a:r>
            </a:p>
          </p:txBody>
        </p:sp>
      </p:grpSp>
      <p:grpSp>
        <p:nvGrpSpPr>
          <p:cNvPr id="12" name="Group 3">
            <a:extLst>
              <a:ext uri="{FF2B5EF4-FFF2-40B4-BE49-F238E27FC236}">
                <a16:creationId xmlns:a16="http://schemas.microsoft.com/office/drawing/2014/main" id="{55C6A9D1-C00B-425C-A936-79AEFF60A4F8}"/>
              </a:ext>
            </a:extLst>
          </p:cNvPr>
          <p:cNvGrpSpPr>
            <a:grpSpLocks/>
          </p:cNvGrpSpPr>
          <p:nvPr/>
        </p:nvGrpSpPr>
        <p:grpSpPr bwMode="auto">
          <a:xfrm>
            <a:off x="4972664" y="2377461"/>
            <a:ext cx="3733800" cy="1412875"/>
            <a:chOff x="3429000" y="2397125"/>
            <a:chExt cx="3733800" cy="1412875"/>
          </a:xfrm>
        </p:grpSpPr>
        <p:sp>
          <p:nvSpPr>
            <p:cNvPr id="13" name="Thought Bubble: Cloud 6">
              <a:extLst>
                <a:ext uri="{FF2B5EF4-FFF2-40B4-BE49-F238E27FC236}">
                  <a16:creationId xmlns:a16="http://schemas.microsoft.com/office/drawing/2014/main" id="{424DAE80-8A7F-472B-91EC-56E4E0C5D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0" y="2397125"/>
              <a:ext cx="3733800" cy="1412875"/>
            </a:xfrm>
            <a:prstGeom prst="cloudCallout">
              <a:avLst>
                <a:gd name="adj1" fmla="val 50278"/>
                <a:gd name="adj2" fmla="val 86556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14" name="TextBox 8">
              <a:extLst>
                <a:ext uri="{FF2B5EF4-FFF2-40B4-BE49-F238E27FC236}">
                  <a16:creationId xmlns:a16="http://schemas.microsoft.com/office/drawing/2014/main" id="{BE89F710-BC51-42E0-AC49-662085F566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51288" y="2719388"/>
              <a:ext cx="3144837" cy="738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Tina…! Bcz.. They get so many deals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 and many products are available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 in different categories. </a:t>
              </a:r>
            </a:p>
          </p:txBody>
        </p:sp>
      </p:grpSp>
      <p:grpSp>
        <p:nvGrpSpPr>
          <p:cNvPr id="15" name="Group 4">
            <a:extLst>
              <a:ext uri="{FF2B5EF4-FFF2-40B4-BE49-F238E27FC236}">
                <a16:creationId xmlns:a16="http://schemas.microsoft.com/office/drawing/2014/main" id="{FBB2A8E2-7262-4646-B1DC-289540D60D1B}"/>
              </a:ext>
            </a:extLst>
          </p:cNvPr>
          <p:cNvGrpSpPr>
            <a:grpSpLocks/>
          </p:cNvGrpSpPr>
          <p:nvPr/>
        </p:nvGrpSpPr>
        <p:grpSpPr bwMode="auto">
          <a:xfrm>
            <a:off x="4286864" y="4112599"/>
            <a:ext cx="3962400" cy="1374775"/>
            <a:chOff x="2743200" y="4132263"/>
            <a:chExt cx="3962400" cy="1374775"/>
          </a:xfrm>
        </p:grpSpPr>
        <p:sp>
          <p:nvSpPr>
            <p:cNvPr id="16" name="Thought Bubble: Cloud 9">
              <a:extLst>
                <a:ext uri="{FF2B5EF4-FFF2-40B4-BE49-F238E27FC236}">
                  <a16:creationId xmlns:a16="http://schemas.microsoft.com/office/drawing/2014/main" id="{DCF0EC1F-7B69-456F-9380-5FC2A4BB8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200" y="4132263"/>
              <a:ext cx="3962400" cy="1374775"/>
            </a:xfrm>
            <a:prstGeom prst="cloudCallout">
              <a:avLst>
                <a:gd name="adj1" fmla="val 62551"/>
                <a:gd name="adj2" fmla="val -15912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17" name="TextBox 10">
              <a:extLst>
                <a:ext uri="{FF2B5EF4-FFF2-40B4-BE49-F238E27FC236}">
                  <a16:creationId xmlns:a16="http://schemas.microsoft.com/office/drawing/2014/main" id="{77984A08-8FCB-4A9F-8332-002F905044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94063" y="4303713"/>
              <a:ext cx="3010761" cy="954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Well !.. And also they get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recommendations based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on their purchasing behavior and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product reviews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7281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785" y="858443"/>
          <a:ext cx="1586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6785" y="858443"/>
                        <a:ext cx="1586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 txBox="1">
            <a:spLocks/>
          </p:cNvSpPr>
          <p:nvPr/>
        </p:nvSpPr>
        <p:spPr>
          <a:xfrm>
            <a:off x="9774113" y="5768316"/>
            <a:ext cx="547688" cy="96441"/>
          </a:xfrm>
          <a:prstGeom prst="rect">
            <a:avLst/>
          </a:prstGeom>
        </p:spPr>
        <p:txBody>
          <a:bodyPr vert="horz" wrap="square" lIns="91424" tIns="45712" rIns="0" bIns="4571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750" dirty="0">
                <a:solidFill>
                  <a:srgbClr val="778888"/>
                </a:solidFill>
              </a:rPr>
              <a:t>3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5371FED-A3FC-4D15-8CC6-968C9DC28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defTabSz="912813">
              <a:lnSpc>
                <a:spcPct val="90000"/>
              </a:lnSpc>
              <a:defRPr/>
            </a:pPr>
            <a:r>
              <a:rPr lang="en-US" altLang="en-US" spc="-133" dirty="0">
                <a:cs typeface="Arial" panose="020B0604020202020204" pitchFamily="34" charset="0"/>
              </a:rPr>
              <a:t>Every now and then, almost in every corner of the world….. This happens..!!</a:t>
            </a:r>
          </a:p>
        </p:txBody>
      </p:sp>
      <p:grpSp>
        <p:nvGrpSpPr>
          <p:cNvPr id="18" name="Group 6">
            <a:extLst>
              <a:ext uri="{FF2B5EF4-FFF2-40B4-BE49-F238E27FC236}">
                <a16:creationId xmlns:a16="http://schemas.microsoft.com/office/drawing/2014/main" id="{0060FD06-8D8E-4B7C-B6EE-7F1933C7E8B5}"/>
              </a:ext>
            </a:extLst>
          </p:cNvPr>
          <p:cNvGrpSpPr>
            <a:grpSpLocks/>
          </p:cNvGrpSpPr>
          <p:nvPr/>
        </p:nvGrpSpPr>
        <p:grpSpPr bwMode="auto">
          <a:xfrm>
            <a:off x="4611329" y="2086794"/>
            <a:ext cx="3429000" cy="1171575"/>
            <a:chOff x="3200400" y="1193799"/>
            <a:chExt cx="3429000" cy="1171595"/>
          </a:xfrm>
        </p:grpSpPr>
        <p:sp>
          <p:nvSpPr>
            <p:cNvPr id="19" name="TextBox 7">
              <a:extLst>
                <a:ext uri="{FF2B5EF4-FFF2-40B4-BE49-F238E27FC236}">
                  <a16:creationId xmlns:a16="http://schemas.microsoft.com/office/drawing/2014/main" id="{2D8077C7-7BD9-422A-99EF-EB0CF846EB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05201" y="1411288"/>
              <a:ext cx="2895600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IN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Team...! We need to implement the following features in upcoming Great Indian Sale.</a:t>
              </a:r>
              <a:endParaRPr lang="en-US" altLang="en-US" sz="1400">
                <a:solidFill>
                  <a:srgbClr val="3767FF"/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20" name="Thought Bubble: Cloud 5">
              <a:extLst>
                <a:ext uri="{FF2B5EF4-FFF2-40B4-BE49-F238E27FC236}">
                  <a16:creationId xmlns:a16="http://schemas.microsoft.com/office/drawing/2014/main" id="{00A37D15-0CF3-4B9D-A6F9-AE98E091E2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1193799"/>
              <a:ext cx="3429000" cy="1171595"/>
            </a:xfrm>
            <a:prstGeom prst="cloudCallout">
              <a:avLst>
                <a:gd name="adj1" fmla="val 56074"/>
                <a:gd name="adj2" fmla="val 107019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</p:grpSp>
      <p:sp>
        <p:nvSpPr>
          <p:cNvPr id="21" name="Rectangle 1">
            <a:extLst>
              <a:ext uri="{FF2B5EF4-FFF2-40B4-BE49-F238E27FC236}">
                <a16:creationId xmlns:a16="http://schemas.microsoft.com/office/drawing/2014/main" id="{ADAD8BB3-3EFC-4284-BE35-81E075986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4529" y="3556819"/>
            <a:ext cx="35052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IN" altLang="en-US"/>
          </a:p>
        </p:txBody>
      </p:sp>
      <p:sp>
        <p:nvSpPr>
          <p:cNvPr id="23" name="Rounded Rectangle 2">
            <a:extLst>
              <a:ext uri="{FF2B5EF4-FFF2-40B4-BE49-F238E27FC236}">
                <a16:creationId xmlns:a16="http://schemas.microsoft.com/office/drawing/2014/main" id="{D1094576-7FB6-401A-BD17-FD15D6970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5929" y="3328219"/>
            <a:ext cx="3733800" cy="1600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IN" altLang="en-US"/>
          </a:p>
        </p:txBody>
      </p:sp>
      <p:sp>
        <p:nvSpPr>
          <p:cNvPr id="24" name="Rounded Rectangle 3">
            <a:extLst>
              <a:ext uri="{FF2B5EF4-FFF2-40B4-BE49-F238E27FC236}">
                <a16:creationId xmlns:a16="http://schemas.microsoft.com/office/drawing/2014/main" id="{7DDD2086-E20B-4632-A0A2-2B65C4A648C8}"/>
              </a:ext>
            </a:extLst>
          </p:cNvPr>
          <p:cNvSpPr/>
          <p:nvPr/>
        </p:nvSpPr>
        <p:spPr bwMode="auto">
          <a:xfrm rot="21432962">
            <a:off x="3342917" y="3699694"/>
            <a:ext cx="3962400" cy="1524000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488" tIns="44450" rIns="90488" bIns="44450"/>
          <a:lstStyle/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ynamic pricing based on customers purchasing behaviour.</a:t>
            </a:r>
          </a:p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I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 recommendations based on customers purchasing activity.</a:t>
            </a:r>
          </a:p>
        </p:txBody>
      </p:sp>
    </p:spTree>
    <p:extLst>
      <p:ext uri="{BB962C8B-B14F-4D97-AF65-F5344CB8AC3E}">
        <p14:creationId xmlns:p14="http://schemas.microsoft.com/office/powerpoint/2010/main" val="319791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785" y="858443"/>
          <a:ext cx="1586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6785" y="858443"/>
                        <a:ext cx="1586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5371FED-A3FC-4D15-8CC6-968C9DC28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defTabSz="912813">
              <a:lnSpc>
                <a:spcPct val="90000"/>
              </a:lnSpc>
              <a:defRPr/>
            </a:pPr>
            <a:r>
              <a:rPr lang="en-US" altLang="en-US" spc="-133" dirty="0">
                <a:cs typeface="Arial" panose="020B0604020202020204" pitchFamily="34" charset="0"/>
              </a:rPr>
              <a:t>At the same time…. In an eCommerce application development &amp; analytics team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E0E8AC-9738-4EE4-AC95-2DF1C9878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73010868-5C90-4560-A03B-16F10EDC4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9329" y="3373536"/>
            <a:ext cx="35052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IN" altLang="en-US"/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9D55F934-BD24-42B2-ADC6-DC2390340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0729" y="3144936"/>
            <a:ext cx="3733800" cy="1600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IN" altLang="en-US"/>
          </a:p>
        </p:txBody>
      </p:sp>
      <p:grpSp>
        <p:nvGrpSpPr>
          <p:cNvPr id="13" name="Group 9">
            <a:extLst>
              <a:ext uri="{FF2B5EF4-FFF2-40B4-BE49-F238E27FC236}">
                <a16:creationId xmlns:a16="http://schemas.microsoft.com/office/drawing/2014/main" id="{DB99167D-B4CA-4B30-B1BB-4AFAF174FB0E}"/>
              </a:ext>
            </a:extLst>
          </p:cNvPr>
          <p:cNvGrpSpPr>
            <a:grpSpLocks/>
          </p:cNvGrpSpPr>
          <p:nvPr/>
        </p:nvGrpSpPr>
        <p:grpSpPr bwMode="auto">
          <a:xfrm>
            <a:off x="5068529" y="2001936"/>
            <a:ext cx="3200400" cy="1143000"/>
            <a:chOff x="3200400" y="1193800"/>
            <a:chExt cx="3429000" cy="914400"/>
          </a:xfrm>
        </p:grpSpPr>
        <p:sp>
          <p:nvSpPr>
            <p:cNvPr id="14" name="TextBox 7">
              <a:extLst>
                <a:ext uri="{FF2B5EF4-FFF2-40B4-BE49-F238E27FC236}">
                  <a16:creationId xmlns:a16="http://schemas.microsoft.com/office/drawing/2014/main" id="{42F4AAEB-CC60-4EFC-9D89-ABE520F688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26973" y="1411288"/>
              <a:ext cx="2939145" cy="5909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Then.. We need to find an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alternative processing methodology</a:t>
              </a:r>
            </a:p>
          </p:txBody>
        </p:sp>
        <p:sp>
          <p:nvSpPr>
            <p:cNvPr id="15" name="Thought Bubble: Cloud 5">
              <a:extLst>
                <a:ext uri="{FF2B5EF4-FFF2-40B4-BE49-F238E27FC236}">
                  <a16:creationId xmlns:a16="http://schemas.microsoft.com/office/drawing/2014/main" id="{8FFA031F-2D09-47EF-A6F6-B039570C3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1193800"/>
              <a:ext cx="3429000" cy="914400"/>
            </a:xfrm>
            <a:prstGeom prst="cloudCallout">
              <a:avLst>
                <a:gd name="adj1" fmla="val 56074"/>
                <a:gd name="adj2" fmla="val 107019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</p:grpSp>
      <p:grpSp>
        <p:nvGrpSpPr>
          <p:cNvPr id="16" name="Group 12">
            <a:extLst>
              <a:ext uri="{FF2B5EF4-FFF2-40B4-BE49-F238E27FC236}">
                <a16:creationId xmlns:a16="http://schemas.microsoft.com/office/drawing/2014/main" id="{CE4129DC-3966-4FD4-90A4-18E7EAD66E15}"/>
              </a:ext>
            </a:extLst>
          </p:cNvPr>
          <p:cNvGrpSpPr>
            <a:grpSpLocks/>
          </p:cNvGrpSpPr>
          <p:nvPr/>
        </p:nvGrpSpPr>
        <p:grpSpPr bwMode="auto">
          <a:xfrm>
            <a:off x="2739667" y="2943324"/>
            <a:ext cx="3209925" cy="1374775"/>
            <a:chOff x="1524000" y="2030413"/>
            <a:chExt cx="3209925" cy="1374775"/>
          </a:xfrm>
        </p:grpSpPr>
        <p:sp>
          <p:nvSpPr>
            <p:cNvPr id="17" name="Thought Bubble: Cloud 9">
              <a:extLst>
                <a:ext uri="{FF2B5EF4-FFF2-40B4-BE49-F238E27FC236}">
                  <a16:creationId xmlns:a16="http://schemas.microsoft.com/office/drawing/2014/main" id="{126B8DE0-A3E3-478D-9251-3FAE1EB4E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4000" y="2030413"/>
              <a:ext cx="3048000" cy="1374775"/>
            </a:xfrm>
            <a:prstGeom prst="cloudCallout">
              <a:avLst>
                <a:gd name="adj1" fmla="val -63111"/>
                <a:gd name="adj2" fmla="val 78949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18" name="TextBox 10">
              <a:extLst>
                <a:ext uri="{FF2B5EF4-FFF2-40B4-BE49-F238E27FC236}">
                  <a16:creationId xmlns:a16="http://schemas.microsoft.com/office/drawing/2014/main" id="{961DF709-75E2-4838-BDA9-18F64FE556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65313" y="2295525"/>
              <a:ext cx="2868612" cy="954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Yes.. We need to do the  processing in real time rather storing the data and then process after some time</a:t>
              </a:r>
            </a:p>
          </p:txBody>
        </p:sp>
      </p:grpSp>
      <p:grpSp>
        <p:nvGrpSpPr>
          <p:cNvPr id="19" name="Group 15">
            <a:extLst>
              <a:ext uri="{FF2B5EF4-FFF2-40B4-BE49-F238E27FC236}">
                <a16:creationId xmlns:a16="http://schemas.microsoft.com/office/drawing/2014/main" id="{1F5471FD-4C6F-4E74-B561-FDBA11EDB9AF}"/>
              </a:ext>
            </a:extLst>
          </p:cNvPr>
          <p:cNvGrpSpPr>
            <a:grpSpLocks/>
          </p:cNvGrpSpPr>
          <p:nvPr/>
        </p:nvGrpSpPr>
        <p:grpSpPr bwMode="auto">
          <a:xfrm>
            <a:off x="3849329" y="4286349"/>
            <a:ext cx="3463925" cy="1173162"/>
            <a:chOff x="2438400" y="3378200"/>
            <a:chExt cx="3463925" cy="1173163"/>
          </a:xfrm>
        </p:grpSpPr>
        <p:sp>
          <p:nvSpPr>
            <p:cNvPr id="20" name="Thought Bubble: Cloud 9">
              <a:extLst>
                <a:ext uri="{FF2B5EF4-FFF2-40B4-BE49-F238E27FC236}">
                  <a16:creationId xmlns:a16="http://schemas.microsoft.com/office/drawing/2014/main" id="{C2B7C67F-A382-4702-A654-8303C4C84F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8400" y="3378200"/>
              <a:ext cx="3429000" cy="1173163"/>
            </a:xfrm>
            <a:prstGeom prst="cloudCallout">
              <a:avLst>
                <a:gd name="adj1" fmla="val -69282"/>
                <a:gd name="adj2" fmla="val 41435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21" name="TextBox 7">
              <a:extLst>
                <a:ext uri="{FF2B5EF4-FFF2-40B4-BE49-F238E27FC236}">
                  <a16:creationId xmlns:a16="http://schemas.microsoft.com/office/drawing/2014/main" id="{AFB560DE-8134-4247-9074-A63BE00307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90813" y="3565525"/>
              <a:ext cx="3211512" cy="954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I understand.. Then our application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should be very faster &amp; dynamic to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decide deals and prices based </a:t>
              </a:r>
            </a:p>
            <a:p>
              <a:r>
                <a:rPr lang="en-US" altLang="en-US" sz="1400">
                  <a:solidFill>
                    <a:srgbClr val="3767FF"/>
                  </a:solidFill>
                  <a:latin typeface="Comic Sans MS" panose="030F0702030302020204" pitchFamily="66" charset="0"/>
                </a:rPr>
                <a:t>    on streaming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8113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2DD32-859F-4DD9-B8CB-562BEC659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sz="4800" dirty="0"/>
              <a:t>Looking at the scenario, what is required?</a:t>
            </a:r>
            <a:endParaRPr lang="en-US" dirty="0"/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4BAD8ED0-A602-4D1B-A2EA-F50A37EEAD97}"/>
              </a:ext>
            </a:extLst>
          </p:cNvPr>
          <p:cNvGrpSpPr>
            <a:grpSpLocks/>
          </p:cNvGrpSpPr>
          <p:nvPr/>
        </p:nvGrpSpPr>
        <p:grpSpPr bwMode="auto">
          <a:xfrm>
            <a:off x="6346467" y="1564762"/>
            <a:ext cx="4594225" cy="1041400"/>
            <a:chOff x="4173351" y="1682750"/>
            <a:chExt cx="4594411" cy="1041399"/>
          </a:xfrm>
        </p:grpSpPr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233BACBB-4D96-4D54-98C2-ED851F7621C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97202" y="1682750"/>
              <a:ext cx="2770560" cy="831850"/>
              <a:chOff x="5997202" y="1682750"/>
              <a:chExt cx="2770560" cy="831850"/>
            </a:xfrm>
          </p:grpSpPr>
          <p:pic>
            <p:nvPicPr>
              <p:cNvPr id="18" name="Picture 6">
                <a:extLst>
                  <a:ext uri="{FF2B5EF4-FFF2-40B4-BE49-F238E27FC236}">
                    <a16:creationId xmlns:a16="http://schemas.microsoft.com/office/drawing/2014/main" id="{4DF05C8D-5F0B-4416-8F09-93D1CF7D39D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97202" y="1682750"/>
                <a:ext cx="2770560" cy="831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" name="TextBox 7">
                <a:extLst>
                  <a:ext uri="{FF2B5EF4-FFF2-40B4-BE49-F238E27FC236}">
                    <a16:creationId xmlns:a16="http://schemas.microsoft.com/office/drawing/2014/main" id="{E9FDB57E-9E9A-497A-A834-70330BDDE3E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00763" y="1694509"/>
                <a:ext cx="2666999" cy="7694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100"/>
                  <a:t>Login ID : C003, Location : Bangalore</a:t>
                </a:r>
              </a:p>
              <a:p>
                <a:r>
                  <a:rPr lang="en-US" altLang="en-US" sz="1100"/>
                  <a:t>Search Page: Data Analytics books</a:t>
                </a:r>
              </a:p>
              <a:p>
                <a:r>
                  <a:rPr lang="en-US" altLang="en-US" sz="1100"/>
                  <a:t>Time: 16:23:45.34, device : mobile</a:t>
                </a:r>
              </a:p>
              <a:p>
                <a:r>
                  <a:rPr lang="en-US" altLang="en-US" sz="1100"/>
                  <a:t>IP: 10.0.12,13 …………</a:t>
                </a:r>
              </a:p>
            </p:txBody>
          </p:sp>
        </p:grpSp>
        <p:grpSp>
          <p:nvGrpSpPr>
            <p:cNvPr id="13" name="Group 3">
              <a:extLst>
                <a:ext uri="{FF2B5EF4-FFF2-40B4-BE49-F238E27FC236}">
                  <a16:creationId xmlns:a16="http://schemas.microsoft.com/office/drawing/2014/main" id="{55689D0A-808D-4F36-B0C5-C422497342E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73351" y="1702989"/>
              <a:ext cx="1674999" cy="1021160"/>
              <a:chOff x="4173351" y="1702989"/>
              <a:chExt cx="1674999" cy="1021160"/>
            </a:xfrm>
          </p:grpSpPr>
          <p:sp>
            <p:nvSpPr>
              <p:cNvPr id="14" name="Arrow: Right 15">
                <a:extLst>
                  <a:ext uri="{FF2B5EF4-FFF2-40B4-BE49-F238E27FC236}">
                    <a16:creationId xmlns:a16="http://schemas.microsoft.com/office/drawing/2014/main" id="{AD50F04B-9277-4299-8E25-2EF7B68D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3351" y="2014537"/>
                <a:ext cx="1674999" cy="228201"/>
              </a:xfrm>
              <a:prstGeom prst="rightArrow">
                <a:avLst>
                  <a:gd name="adj1" fmla="val 50000"/>
                  <a:gd name="adj2" fmla="val 50429"/>
                </a:avLst>
              </a:prstGeom>
              <a:noFill/>
              <a:ln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/>
              <a:lstStyle>
                <a:lvl1pPr marL="342900" indent="-3429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20000"/>
                  </a:spcBef>
                  <a:buClr>
                    <a:schemeClr val="tx1"/>
                  </a:buClr>
                  <a:buFontTx/>
                  <a:buChar char="•"/>
                </a:pPr>
                <a:endParaRPr lang="en-US" altLang="en-US"/>
              </a:p>
            </p:txBody>
          </p:sp>
          <p:sp>
            <p:nvSpPr>
              <p:cNvPr id="15" name="TextBox 16">
                <a:extLst>
                  <a:ext uri="{FF2B5EF4-FFF2-40B4-BE49-F238E27FC236}">
                    <a16:creationId xmlns:a16="http://schemas.microsoft.com/office/drawing/2014/main" id="{2BF055BD-FB84-47AA-834D-A1F7B58C11E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22763" y="1702989"/>
                <a:ext cx="1525587" cy="2460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000"/>
                  <a:t>From Shopping website</a:t>
                </a:r>
              </a:p>
            </p:txBody>
          </p:sp>
          <p:sp>
            <p:nvSpPr>
              <p:cNvPr id="16" name="Oval 21">
                <a:extLst>
                  <a:ext uri="{FF2B5EF4-FFF2-40B4-BE49-F238E27FC236}">
                    <a16:creationId xmlns:a16="http://schemas.microsoft.com/office/drawing/2014/main" id="{1C0736B3-AD89-405F-AACB-28198776F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4400" y="2255042"/>
                <a:ext cx="533400" cy="392113"/>
              </a:xfrm>
              <a:prstGeom prst="ellipse">
                <a:avLst/>
              </a:prstGeom>
              <a:noFill/>
              <a:ln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/>
              <a:lstStyle>
                <a:lvl1pPr marL="342900" indent="-3429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20000"/>
                  </a:spcBef>
                  <a:buClr>
                    <a:schemeClr val="tx1"/>
                  </a:buClr>
                  <a:buFontTx/>
                  <a:buChar char="•"/>
                </a:pPr>
                <a:endParaRPr lang="en-US" altLang="en-US"/>
              </a:p>
            </p:txBody>
          </p:sp>
          <p:sp>
            <p:nvSpPr>
              <p:cNvPr id="17" name="TextBox 22">
                <a:extLst>
                  <a:ext uri="{FF2B5EF4-FFF2-40B4-BE49-F238E27FC236}">
                    <a16:creationId xmlns:a16="http://schemas.microsoft.com/office/drawing/2014/main" id="{76933C5D-974F-446C-85E8-978394E1731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99806" y="2200274"/>
                <a:ext cx="384175" cy="523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/>
                  <a:t>1</a:t>
                </a:r>
              </a:p>
            </p:txBody>
          </p:sp>
        </p:grpSp>
      </p:grpSp>
      <p:sp>
        <p:nvSpPr>
          <p:cNvPr id="20" name="Arrow: Down 13">
            <a:extLst>
              <a:ext uri="{FF2B5EF4-FFF2-40B4-BE49-F238E27FC236}">
                <a16:creationId xmlns:a16="http://schemas.microsoft.com/office/drawing/2014/main" id="{05945A9F-97E6-4881-99F6-45917DF6D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9704" y="2396612"/>
            <a:ext cx="174625" cy="874713"/>
          </a:xfrm>
          <a:prstGeom prst="downArrow">
            <a:avLst>
              <a:gd name="adj1" fmla="val 50000"/>
              <a:gd name="adj2" fmla="val 50184"/>
            </a:avLst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US" altLang="en-US"/>
          </a:p>
        </p:txBody>
      </p:sp>
      <p:grpSp>
        <p:nvGrpSpPr>
          <p:cNvPr id="21" name="Group 11">
            <a:extLst>
              <a:ext uri="{FF2B5EF4-FFF2-40B4-BE49-F238E27FC236}">
                <a16:creationId xmlns:a16="http://schemas.microsoft.com/office/drawing/2014/main" id="{26536050-28D3-4A42-A8BC-BBB3BC26F153}"/>
              </a:ext>
            </a:extLst>
          </p:cNvPr>
          <p:cNvGrpSpPr>
            <a:grpSpLocks/>
          </p:cNvGrpSpPr>
          <p:nvPr/>
        </p:nvGrpSpPr>
        <p:grpSpPr bwMode="auto">
          <a:xfrm>
            <a:off x="7430729" y="3277675"/>
            <a:ext cx="3421063" cy="1371600"/>
            <a:chOff x="5257800" y="3395663"/>
            <a:chExt cx="3421062" cy="1371600"/>
          </a:xfrm>
        </p:grpSpPr>
        <p:sp>
          <p:nvSpPr>
            <p:cNvPr id="22" name="Rectangle: Rounded Corners 8">
              <a:extLst>
                <a:ext uri="{FF2B5EF4-FFF2-40B4-BE49-F238E27FC236}">
                  <a16:creationId xmlns:a16="http://schemas.microsoft.com/office/drawing/2014/main" id="{A9F0ECCB-9920-4DC3-9188-199EAF1B5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800" y="3395663"/>
              <a:ext cx="2752725" cy="1371600"/>
            </a:xfrm>
            <a:prstGeom prst="roundRect">
              <a:avLst>
                <a:gd name="adj" fmla="val 16667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23" name="TextBox 9">
              <a:extLst>
                <a:ext uri="{FF2B5EF4-FFF2-40B4-BE49-F238E27FC236}">
                  <a16:creationId xmlns:a16="http://schemas.microsoft.com/office/drawing/2014/main" id="{F4FA7F3D-51D9-4C29-8461-AD17C2E512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57800" y="3548063"/>
              <a:ext cx="2752725" cy="1076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600" b="1"/>
                <a:t>Application to decide the </a:t>
              </a:r>
            </a:p>
            <a:p>
              <a:r>
                <a:rPr lang="en-US" altLang="en-US" sz="1600" b="1"/>
                <a:t>price of books based on </a:t>
              </a:r>
            </a:p>
            <a:p>
              <a:r>
                <a:rPr lang="en-US" altLang="en-US" sz="1600" b="1"/>
                <a:t>customer logs and</a:t>
              </a:r>
            </a:p>
            <a:p>
              <a:r>
                <a:rPr lang="en-US" altLang="en-US" sz="1600" b="1"/>
                <a:t>previous search activities</a:t>
              </a:r>
            </a:p>
          </p:txBody>
        </p:sp>
        <p:grpSp>
          <p:nvGrpSpPr>
            <p:cNvPr id="24" name="Group 9">
              <a:extLst>
                <a:ext uri="{FF2B5EF4-FFF2-40B4-BE49-F238E27FC236}">
                  <a16:creationId xmlns:a16="http://schemas.microsoft.com/office/drawing/2014/main" id="{1116C77C-4153-4225-AB7C-D2B2AFB056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45462" y="3819525"/>
              <a:ext cx="533400" cy="523875"/>
              <a:chOff x="7434263" y="2633663"/>
              <a:chExt cx="533400" cy="523875"/>
            </a:xfrm>
          </p:grpSpPr>
          <p:sp>
            <p:nvSpPr>
              <p:cNvPr id="25" name="Oval 23">
                <a:extLst>
                  <a:ext uri="{FF2B5EF4-FFF2-40B4-BE49-F238E27FC236}">
                    <a16:creationId xmlns:a16="http://schemas.microsoft.com/office/drawing/2014/main" id="{24D3EE9F-F6BB-4180-ADE2-1815200288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34263" y="2709863"/>
                <a:ext cx="533400" cy="392112"/>
              </a:xfrm>
              <a:prstGeom prst="ellipse">
                <a:avLst/>
              </a:prstGeom>
              <a:noFill/>
              <a:ln w="12700" algn="ctr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488" tIns="44450" rIns="90488" bIns="44450"/>
              <a:lstStyle>
                <a:lvl1pPr marL="342900" indent="-3429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20000"/>
                  </a:spcBef>
                  <a:buClr>
                    <a:schemeClr val="tx1"/>
                  </a:buClr>
                  <a:buFontTx/>
                  <a:buChar char="•"/>
                </a:pPr>
                <a:endParaRPr lang="en-US" altLang="en-US"/>
              </a:p>
            </p:txBody>
          </p:sp>
          <p:sp>
            <p:nvSpPr>
              <p:cNvPr id="26" name="TextBox 24">
                <a:extLst>
                  <a:ext uri="{FF2B5EF4-FFF2-40B4-BE49-F238E27FC236}">
                    <a16:creationId xmlns:a16="http://schemas.microsoft.com/office/drawing/2014/main" id="{1DBD6B51-D847-4F32-8B14-88B6ED2D4E3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08875" y="2633663"/>
                <a:ext cx="384175" cy="523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/>
                  <a:t>2</a:t>
                </a:r>
              </a:p>
            </p:txBody>
          </p:sp>
        </p:grpSp>
      </p:grpSp>
      <p:grpSp>
        <p:nvGrpSpPr>
          <p:cNvPr id="27" name="Group 10">
            <a:extLst>
              <a:ext uri="{FF2B5EF4-FFF2-40B4-BE49-F238E27FC236}">
                <a16:creationId xmlns:a16="http://schemas.microsoft.com/office/drawing/2014/main" id="{A5EC82DF-6E0F-4E5A-BDEB-02E2068F6D15}"/>
              </a:ext>
            </a:extLst>
          </p:cNvPr>
          <p:cNvGrpSpPr>
            <a:grpSpLocks/>
          </p:cNvGrpSpPr>
          <p:nvPr/>
        </p:nvGrpSpPr>
        <p:grpSpPr bwMode="auto">
          <a:xfrm>
            <a:off x="8054617" y="4652450"/>
            <a:ext cx="2905125" cy="1708150"/>
            <a:chOff x="5881688" y="4770438"/>
            <a:chExt cx="2905125" cy="1708150"/>
          </a:xfrm>
        </p:grpSpPr>
        <p:pic>
          <p:nvPicPr>
            <p:cNvPr id="28" name="Picture 10">
              <a:extLst>
                <a:ext uri="{FF2B5EF4-FFF2-40B4-BE49-F238E27FC236}">
                  <a16:creationId xmlns:a16="http://schemas.microsoft.com/office/drawing/2014/main" id="{5142D50C-458C-44C8-AAC0-553F649BD9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81688" y="5648325"/>
              <a:ext cx="2905125" cy="830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11">
              <a:extLst>
                <a:ext uri="{FF2B5EF4-FFF2-40B4-BE49-F238E27FC236}">
                  <a16:creationId xmlns:a16="http://schemas.microsoft.com/office/drawing/2014/main" id="{867185A9-D0DF-4D36-90AC-04322DDEDF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43600" y="5734050"/>
              <a:ext cx="2843213" cy="739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00"/>
                <a:t>Previous activity logs of customer</a:t>
              </a:r>
            </a:p>
            <a:p>
              <a:r>
                <a:rPr lang="en-US" altLang="en-US" sz="1400"/>
                <a:t>C003 stored in HDFS or</a:t>
              </a:r>
            </a:p>
            <a:p>
              <a:r>
                <a:rPr lang="en-US" altLang="en-US" sz="1400"/>
                <a:t> Local FS or any other storage</a:t>
              </a:r>
            </a:p>
          </p:txBody>
        </p:sp>
        <p:sp>
          <p:nvSpPr>
            <p:cNvPr id="30" name="Arrow: Down 14">
              <a:extLst>
                <a:ext uri="{FF2B5EF4-FFF2-40B4-BE49-F238E27FC236}">
                  <a16:creationId xmlns:a16="http://schemas.microsoft.com/office/drawing/2014/main" id="{61B7AAC0-FC1F-45B5-9466-516D131FF2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7216775" y="4770438"/>
              <a:ext cx="174625" cy="877887"/>
            </a:xfrm>
            <a:prstGeom prst="downArrow">
              <a:avLst>
                <a:gd name="adj1" fmla="val 50000"/>
                <a:gd name="adj2" fmla="val 50273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</p:grpSp>
      <p:grpSp>
        <p:nvGrpSpPr>
          <p:cNvPr id="31" name="Group 8">
            <a:extLst>
              <a:ext uri="{FF2B5EF4-FFF2-40B4-BE49-F238E27FC236}">
                <a16:creationId xmlns:a16="http://schemas.microsoft.com/office/drawing/2014/main" id="{111E8597-6755-4637-AE05-2E3510709774}"/>
              </a:ext>
            </a:extLst>
          </p:cNvPr>
          <p:cNvGrpSpPr>
            <a:grpSpLocks/>
          </p:cNvGrpSpPr>
          <p:nvPr/>
        </p:nvGrpSpPr>
        <p:grpSpPr bwMode="auto">
          <a:xfrm>
            <a:off x="2731729" y="3450712"/>
            <a:ext cx="4699000" cy="1416050"/>
            <a:chOff x="558800" y="3568700"/>
            <a:chExt cx="4699000" cy="1415395"/>
          </a:xfrm>
        </p:grpSpPr>
        <p:sp>
          <p:nvSpPr>
            <p:cNvPr id="32" name="Arrow: Right 17">
              <a:extLst>
                <a:ext uri="{FF2B5EF4-FFF2-40B4-BE49-F238E27FC236}">
                  <a16:creationId xmlns:a16="http://schemas.microsoft.com/office/drawing/2014/main" id="{1A5B80B0-4E03-4624-B783-CBF96B5157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3886200" y="4370388"/>
              <a:ext cx="1371600" cy="125412"/>
            </a:xfrm>
            <a:prstGeom prst="rightArrow">
              <a:avLst>
                <a:gd name="adj1" fmla="val 50000"/>
                <a:gd name="adj2" fmla="val 50076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33" name="Rectangle 18">
              <a:extLst>
                <a:ext uri="{FF2B5EF4-FFF2-40B4-BE49-F238E27FC236}">
                  <a16:creationId xmlns:a16="http://schemas.microsoft.com/office/drawing/2014/main" id="{08FFB91A-5F2D-47D4-A52B-06A8748DE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800" y="4102100"/>
              <a:ext cx="3327400" cy="685800"/>
            </a:xfrm>
            <a:prstGeom prst="rect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</a:pPr>
              <a:r>
                <a:rPr lang="en-US" altLang="en-US" sz="1200"/>
                <a:t>Big Data Analytics : </a:t>
              </a:r>
              <a:r>
                <a:rPr lang="en-US" altLang="en-US" sz="1200">
                  <a:solidFill>
                    <a:srgbClr val="FF0000"/>
                  </a:solidFill>
                </a:rPr>
                <a:t>566 (15 % off)</a:t>
              </a:r>
            </a:p>
            <a:p>
              <a:pPr>
                <a:spcBef>
                  <a:spcPct val="20000"/>
                </a:spcBef>
                <a:buClr>
                  <a:schemeClr val="tx1"/>
                </a:buClr>
              </a:pPr>
              <a:r>
                <a:rPr lang="en-US" altLang="en-US" sz="1200"/>
                <a:t>Machine Learning for Big Data : </a:t>
              </a:r>
              <a:r>
                <a:rPr lang="en-US" altLang="en-US" sz="1200">
                  <a:solidFill>
                    <a:srgbClr val="FF0000"/>
                  </a:solidFill>
                </a:rPr>
                <a:t>449 (43% off)</a:t>
              </a:r>
            </a:p>
            <a:p>
              <a:pPr>
                <a:spcBef>
                  <a:spcPct val="20000"/>
                </a:spcBef>
                <a:buClr>
                  <a:schemeClr val="tx1"/>
                </a:buClr>
              </a:pPr>
              <a:r>
                <a:rPr lang="en-US" altLang="en-US" sz="1200"/>
                <a:t>Introduction to data science : </a:t>
              </a:r>
              <a:r>
                <a:rPr lang="en-US" altLang="en-US" sz="1200">
                  <a:solidFill>
                    <a:srgbClr val="FF0000"/>
                  </a:solidFill>
                </a:rPr>
                <a:t>687 (12% off)</a:t>
              </a:r>
            </a:p>
          </p:txBody>
        </p:sp>
        <p:sp>
          <p:nvSpPr>
            <p:cNvPr id="34" name="Arrow: Down 19">
              <a:extLst>
                <a:ext uri="{FF2B5EF4-FFF2-40B4-BE49-F238E27FC236}">
                  <a16:creationId xmlns:a16="http://schemas.microsoft.com/office/drawing/2014/main" id="{719D4494-9134-43EF-B557-6361DC99DA8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2009775" y="3568700"/>
              <a:ext cx="125413" cy="533400"/>
            </a:xfrm>
            <a:prstGeom prst="downArrow">
              <a:avLst>
                <a:gd name="adj1" fmla="val 50000"/>
                <a:gd name="adj2" fmla="val 49955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35" name="TextBox 20">
              <a:extLst>
                <a:ext uri="{FF2B5EF4-FFF2-40B4-BE49-F238E27FC236}">
                  <a16:creationId xmlns:a16="http://schemas.microsoft.com/office/drawing/2014/main" id="{19A7D126-A24D-418A-8CE9-89061822B2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35175" y="3759200"/>
              <a:ext cx="1817688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100"/>
                <a:t>Update price in webpages</a:t>
              </a:r>
            </a:p>
          </p:txBody>
        </p:sp>
        <p:sp>
          <p:nvSpPr>
            <p:cNvPr id="36" name="Oval 27">
              <a:extLst>
                <a:ext uri="{FF2B5EF4-FFF2-40B4-BE49-F238E27FC236}">
                  <a16:creationId xmlns:a16="http://schemas.microsoft.com/office/drawing/2014/main" id="{D1DA7F0B-7E2E-4739-AE1E-7191520FA2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763" y="4537075"/>
              <a:ext cx="533400" cy="392113"/>
            </a:xfrm>
            <a:prstGeom prst="ellipse">
              <a:avLst/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37" name="TextBox 28">
              <a:extLst>
                <a:ext uri="{FF2B5EF4-FFF2-40B4-BE49-F238E27FC236}">
                  <a16:creationId xmlns:a16="http://schemas.microsoft.com/office/drawing/2014/main" id="{239D940A-37EF-4727-B743-69405A8CDB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7375" y="4460875"/>
              <a:ext cx="38504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/>
                <a:t>3</a:t>
              </a:r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A87300D3-0234-4FF3-949D-1659725A13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9371" y="1131804"/>
            <a:ext cx="3924300" cy="2190750"/>
          </a:xfrm>
          <a:prstGeom prst="rect">
            <a:avLst/>
          </a:pr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107100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2DD32-859F-4DD9-B8CB-562BEC659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have done so far ?</a:t>
            </a: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93DD8737-2EFF-4E93-BCEF-EAAD7CE6D1B8}"/>
              </a:ext>
            </a:extLst>
          </p:cNvPr>
          <p:cNvGrpSpPr>
            <a:grpSpLocks/>
          </p:cNvGrpSpPr>
          <p:nvPr/>
        </p:nvGrpSpPr>
        <p:grpSpPr bwMode="auto">
          <a:xfrm>
            <a:off x="1305540" y="1499420"/>
            <a:ext cx="2905125" cy="1262063"/>
            <a:chOff x="371475" y="1676400"/>
            <a:chExt cx="2905125" cy="1262063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1CC85A62-C953-45B7-9DA4-F3F0E03C94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475" y="1676400"/>
              <a:ext cx="2905125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3">
              <a:extLst>
                <a:ext uri="{FF2B5EF4-FFF2-40B4-BE49-F238E27FC236}">
                  <a16:creationId xmlns:a16="http://schemas.microsoft.com/office/drawing/2014/main" id="{069FF4C8-96B0-4F96-8727-A09323E22F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00" y="1676400"/>
              <a:ext cx="2743200" cy="1262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200"/>
                <a:t>Login ID : C003, Location : Bangalore</a:t>
              </a:r>
            </a:p>
            <a:p>
              <a:r>
                <a:rPr lang="en-US" altLang="en-US" sz="1200"/>
                <a:t>Search Page: Data Analytics books</a:t>
              </a:r>
            </a:p>
            <a:p>
              <a:r>
                <a:rPr lang="en-US" altLang="en-US" sz="1200"/>
                <a:t>Time: 16:23:45.34, device : mobile</a:t>
              </a:r>
            </a:p>
            <a:p>
              <a:r>
                <a:rPr lang="en-US" altLang="en-US" sz="1200"/>
                <a:t>IP: 10.0.12.13 …………………………</a:t>
              </a:r>
            </a:p>
            <a:p>
              <a:endParaRPr lang="en-US" altLang="en-US"/>
            </a:p>
          </p:txBody>
        </p:sp>
      </p:grpSp>
      <p:grpSp>
        <p:nvGrpSpPr>
          <p:cNvPr id="16" name="Group 3">
            <a:extLst>
              <a:ext uri="{FF2B5EF4-FFF2-40B4-BE49-F238E27FC236}">
                <a16:creationId xmlns:a16="http://schemas.microsoft.com/office/drawing/2014/main" id="{B9C20FE2-C211-47AF-BC6E-C5CB07D98A53}"/>
              </a:ext>
            </a:extLst>
          </p:cNvPr>
          <p:cNvGrpSpPr>
            <a:grpSpLocks/>
          </p:cNvGrpSpPr>
          <p:nvPr/>
        </p:nvGrpSpPr>
        <p:grpSpPr bwMode="auto">
          <a:xfrm>
            <a:off x="1305540" y="2761483"/>
            <a:ext cx="2955925" cy="846137"/>
            <a:chOff x="371475" y="2938463"/>
            <a:chExt cx="2955925" cy="846137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A2C7F06C-4861-46B2-8D58-90DD9B1F20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475" y="2938463"/>
              <a:ext cx="2905125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Box 5">
              <a:extLst>
                <a:ext uri="{FF2B5EF4-FFF2-40B4-BE49-F238E27FC236}">
                  <a16:creationId xmlns:a16="http://schemas.microsoft.com/office/drawing/2014/main" id="{F01EE38F-7DAA-4BBB-A8C9-69F3DD7A60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00" y="2952750"/>
              <a:ext cx="2794000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200"/>
                <a:t>Login ID : C007, Location : Hyderabad</a:t>
              </a:r>
            </a:p>
            <a:p>
              <a:r>
                <a:rPr lang="en-US" altLang="en-US" sz="1200"/>
                <a:t>Search Page: Electronics</a:t>
              </a:r>
            </a:p>
            <a:p>
              <a:r>
                <a:rPr lang="en-US" altLang="en-US" sz="1200"/>
                <a:t>Time: 19:23:45.34, device : desktop</a:t>
              </a:r>
            </a:p>
            <a:p>
              <a:r>
                <a:rPr lang="en-US" altLang="en-US" sz="1200"/>
                <a:t>IP: 10.0.10.3 …………………………</a:t>
              </a:r>
            </a:p>
          </p:txBody>
        </p:sp>
      </p:grpSp>
      <p:grpSp>
        <p:nvGrpSpPr>
          <p:cNvPr id="19" name="Group 4">
            <a:extLst>
              <a:ext uri="{FF2B5EF4-FFF2-40B4-BE49-F238E27FC236}">
                <a16:creationId xmlns:a16="http://schemas.microsoft.com/office/drawing/2014/main" id="{4D86AA8E-9B61-416F-B434-C217BCC4FBAA}"/>
              </a:ext>
            </a:extLst>
          </p:cNvPr>
          <p:cNvGrpSpPr>
            <a:grpSpLocks/>
          </p:cNvGrpSpPr>
          <p:nvPr/>
        </p:nvGrpSpPr>
        <p:grpSpPr bwMode="auto">
          <a:xfrm>
            <a:off x="4161453" y="1786758"/>
            <a:ext cx="1725612" cy="1400175"/>
            <a:chOff x="3227388" y="1963738"/>
            <a:chExt cx="1725612" cy="1400175"/>
          </a:xfrm>
        </p:grpSpPr>
        <p:sp>
          <p:nvSpPr>
            <p:cNvPr id="20" name="Arrow: Right 13">
              <a:extLst>
                <a:ext uri="{FF2B5EF4-FFF2-40B4-BE49-F238E27FC236}">
                  <a16:creationId xmlns:a16="http://schemas.microsoft.com/office/drawing/2014/main" id="{D2944C94-147C-47CF-9B3F-75FAF1D0E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6600" y="1963738"/>
              <a:ext cx="1676400" cy="171450"/>
            </a:xfrm>
            <a:prstGeom prst="rightArrow">
              <a:avLst>
                <a:gd name="adj1" fmla="val 50000"/>
                <a:gd name="adj2" fmla="val 49794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21" name="Arrow: Right 14">
              <a:extLst>
                <a:ext uri="{FF2B5EF4-FFF2-40B4-BE49-F238E27FC236}">
                  <a16:creationId xmlns:a16="http://schemas.microsoft.com/office/drawing/2014/main" id="{9315E6C1-6976-4DE9-B587-9FCE61F93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3425" y="3192463"/>
              <a:ext cx="1676400" cy="171450"/>
            </a:xfrm>
            <a:prstGeom prst="rightArrow">
              <a:avLst>
                <a:gd name="adj1" fmla="val 50000"/>
                <a:gd name="adj2" fmla="val 49794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22" name="TextBox 15">
              <a:extLst>
                <a:ext uri="{FF2B5EF4-FFF2-40B4-BE49-F238E27FC236}">
                  <a16:creationId xmlns:a16="http://schemas.microsoft.com/office/drawing/2014/main" id="{E8A391AC-322E-44C5-9B96-68E412468C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27388" y="2217738"/>
              <a:ext cx="1714500" cy="830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00"/>
                <a:t>Logs </a:t>
              </a:r>
            </a:p>
            <a:p>
              <a:pPr algn="ctr"/>
              <a:r>
                <a:rPr lang="en-US" altLang="en-US" sz="1600"/>
                <a:t>and</a:t>
              </a:r>
            </a:p>
            <a:p>
              <a:pPr algn="ctr"/>
              <a:r>
                <a:rPr lang="en-US" altLang="en-US" sz="1600"/>
                <a:t>customer activity</a:t>
              </a:r>
            </a:p>
          </p:txBody>
        </p:sp>
      </p:grpSp>
      <p:sp>
        <p:nvSpPr>
          <p:cNvPr id="23" name="Arrow: Right 20">
            <a:extLst>
              <a:ext uri="{FF2B5EF4-FFF2-40B4-BE49-F238E27FC236}">
                <a16:creationId xmlns:a16="http://schemas.microsoft.com/office/drawing/2014/main" id="{684F5981-36DA-4D93-8D47-64EC657E9EE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7308672" y="4038626"/>
            <a:ext cx="660400" cy="153987"/>
          </a:xfrm>
          <a:prstGeom prst="rightArrow">
            <a:avLst>
              <a:gd name="adj1" fmla="val 50000"/>
              <a:gd name="adj2" fmla="val 50094"/>
            </a:avLst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/>
          <a:lstStyle>
            <a:lvl1pPr marL="342900" indent="-3429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chemeClr val="tx1"/>
              </a:buClr>
              <a:buFontTx/>
              <a:buChar char="•"/>
            </a:pPr>
            <a:endParaRPr lang="en-US" altLang="en-US"/>
          </a:p>
        </p:txBody>
      </p:sp>
      <p:grpSp>
        <p:nvGrpSpPr>
          <p:cNvPr id="24" name="Group 6">
            <a:extLst>
              <a:ext uri="{FF2B5EF4-FFF2-40B4-BE49-F238E27FC236}">
                <a16:creationId xmlns:a16="http://schemas.microsoft.com/office/drawing/2014/main" id="{40E3C2F7-F6D1-4E50-B763-79EEBA243B2E}"/>
              </a:ext>
            </a:extLst>
          </p:cNvPr>
          <p:cNvGrpSpPr>
            <a:grpSpLocks/>
          </p:cNvGrpSpPr>
          <p:nvPr/>
        </p:nvGrpSpPr>
        <p:grpSpPr bwMode="auto">
          <a:xfrm>
            <a:off x="6041053" y="4460108"/>
            <a:ext cx="3581400" cy="1647825"/>
            <a:chOff x="5107781" y="4637088"/>
            <a:chExt cx="3581400" cy="1648382"/>
          </a:xfrm>
        </p:grpSpPr>
        <p:sp>
          <p:nvSpPr>
            <p:cNvPr id="25" name="Oval 18">
              <a:extLst>
                <a:ext uri="{FF2B5EF4-FFF2-40B4-BE49-F238E27FC236}">
                  <a16:creationId xmlns:a16="http://schemas.microsoft.com/office/drawing/2014/main" id="{1A549C16-14D6-4F6A-8037-558B14790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4637088"/>
              <a:ext cx="2487612" cy="1138237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26" name="TextBox 19">
              <a:extLst>
                <a:ext uri="{FF2B5EF4-FFF2-40B4-BE49-F238E27FC236}">
                  <a16:creationId xmlns:a16="http://schemas.microsoft.com/office/drawing/2014/main" id="{1A41CB4E-2F2A-496F-B855-DE78091912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7781" y="5946916"/>
              <a:ext cx="35814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600">
                  <a:latin typeface="Algerian" panose="04020705040A02060702" pitchFamily="82" charset="0"/>
                </a:rPr>
                <a:t>           MAP REDUCE PROGRAMS</a:t>
              </a:r>
            </a:p>
          </p:txBody>
        </p:sp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B61DC950-FAAF-4C70-A9BD-130CA3B590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7623" y="4852263"/>
              <a:ext cx="1702378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000">
                  <a:solidFill>
                    <a:srgbClr val="993300"/>
                  </a:solidFill>
                  <a:latin typeface="Algerian" panose="04020705040A02060702" pitchFamily="82" charset="0"/>
                </a:rPr>
                <a:t>BATCH PROCESSING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0B714EE-27C5-47F4-A3F3-1E54B9C766E7}"/>
              </a:ext>
            </a:extLst>
          </p:cNvPr>
          <p:cNvGrpSpPr>
            <a:grpSpLocks/>
          </p:cNvGrpSpPr>
          <p:nvPr/>
        </p:nvGrpSpPr>
        <p:grpSpPr bwMode="auto">
          <a:xfrm>
            <a:off x="6686373" y="900670"/>
            <a:ext cx="3733800" cy="2693988"/>
            <a:chOff x="4953000" y="1295400"/>
            <a:chExt cx="3733800" cy="2693988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AB9D4D6-C0D0-469F-9A59-0113389C7A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5400" y="1295400"/>
              <a:ext cx="2628900" cy="1743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057446F-A9D3-44F5-A39C-0DE1A59B01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1588" y="2443163"/>
              <a:ext cx="1295400" cy="1190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1F30FEE-0628-4A68-8190-381FA8E9D3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8063" y="1963738"/>
              <a:ext cx="1114425" cy="1233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44CB654C-F807-4FCF-9940-857377E78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0" y="1447800"/>
              <a:ext cx="3733800" cy="2514600"/>
            </a:xfrm>
            <a:prstGeom prst="roundRect">
              <a:avLst>
                <a:gd name="adj" fmla="val 16667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33" name="TextBox 16">
              <a:extLst>
                <a:ext uri="{FF2B5EF4-FFF2-40B4-BE49-F238E27FC236}">
                  <a16:creationId xmlns:a16="http://schemas.microsoft.com/office/drawing/2014/main" id="{7BBC2788-D955-469C-9657-92C9807B0B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65763" y="3713163"/>
              <a:ext cx="2865437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r>
                <a:rPr lang="en-US" altLang="en-US" sz="1200">
                  <a:solidFill>
                    <a:srgbClr val="002060"/>
                  </a:solidFill>
                </a:rPr>
                <a:t>Local FS or HDFS or any cloud stor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1612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2DD32-859F-4DD9-B8CB-562BEC659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need to do?</a:t>
            </a:r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A07BF900-2437-4F05-AA74-9E953F927C36}"/>
              </a:ext>
            </a:extLst>
          </p:cNvPr>
          <p:cNvGrpSpPr>
            <a:grpSpLocks/>
          </p:cNvGrpSpPr>
          <p:nvPr/>
        </p:nvGrpSpPr>
        <p:grpSpPr bwMode="auto">
          <a:xfrm>
            <a:off x="3035351" y="4555920"/>
            <a:ext cx="2084387" cy="965200"/>
            <a:chOff x="646113" y="4664075"/>
            <a:chExt cx="2084387" cy="965200"/>
          </a:xfrm>
        </p:grpSpPr>
        <p:sp>
          <p:nvSpPr>
            <p:cNvPr id="29" name="Oval 18">
              <a:extLst>
                <a:ext uri="{FF2B5EF4-FFF2-40B4-BE49-F238E27FC236}">
                  <a16:creationId xmlns:a16="http://schemas.microsoft.com/office/drawing/2014/main" id="{28D57E02-EBC6-44D9-BF54-8CF0306E6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113" y="4664075"/>
              <a:ext cx="2084387" cy="96520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30" name="TextBox 24">
              <a:extLst>
                <a:ext uri="{FF2B5EF4-FFF2-40B4-BE49-F238E27FC236}">
                  <a16:creationId xmlns:a16="http://schemas.microsoft.com/office/drawing/2014/main" id="{44266804-373A-4587-A2FB-1E16BAF42E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8513" y="4768850"/>
              <a:ext cx="1725612" cy="70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993300"/>
                  </a:solidFill>
                  <a:latin typeface="Algerian" panose="04020705040A02060702" pitchFamily="82" charset="0"/>
                </a:rPr>
                <a:t>Real Time</a:t>
              </a:r>
            </a:p>
            <a:p>
              <a:pPr algn="ctr"/>
              <a:r>
                <a:rPr lang="en-US" altLang="en-US" sz="2000">
                  <a:solidFill>
                    <a:srgbClr val="993300"/>
                  </a:solidFill>
                  <a:latin typeface="Algerian" panose="04020705040A02060702" pitchFamily="82" charset="0"/>
                </a:rPr>
                <a:t>PROCESSING</a:t>
              </a:r>
            </a:p>
          </p:txBody>
        </p:sp>
      </p:grpSp>
      <p:grpSp>
        <p:nvGrpSpPr>
          <p:cNvPr id="31" name="Group 2">
            <a:extLst>
              <a:ext uri="{FF2B5EF4-FFF2-40B4-BE49-F238E27FC236}">
                <a16:creationId xmlns:a16="http://schemas.microsoft.com/office/drawing/2014/main" id="{CC78EC2A-4F84-4236-BC74-24734CAEECA8}"/>
              </a:ext>
            </a:extLst>
          </p:cNvPr>
          <p:cNvGrpSpPr>
            <a:grpSpLocks/>
          </p:cNvGrpSpPr>
          <p:nvPr/>
        </p:nvGrpSpPr>
        <p:grpSpPr bwMode="auto">
          <a:xfrm>
            <a:off x="2565451" y="1399970"/>
            <a:ext cx="3251200" cy="2184400"/>
            <a:chOff x="176213" y="1508125"/>
            <a:chExt cx="3251200" cy="2184400"/>
          </a:xfrm>
        </p:grpSpPr>
        <p:grpSp>
          <p:nvGrpSpPr>
            <p:cNvPr id="32" name="Group 17">
              <a:extLst>
                <a:ext uri="{FF2B5EF4-FFF2-40B4-BE49-F238E27FC236}">
                  <a16:creationId xmlns:a16="http://schemas.microsoft.com/office/drawing/2014/main" id="{9FEDAFFE-7A1B-4F89-BA91-88E41A6D86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1475" y="1676400"/>
              <a:ext cx="2905125" cy="1262063"/>
              <a:chOff x="371334" y="1676400"/>
              <a:chExt cx="2905125" cy="1261884"/>
            </a:xfrm>
          </p:grpSpPr>
          <p:pic>
            <p:nvPicPr>
              <p:cNvPr id="37" name="Picture 2">
                <a:extLst>
                  <a:ext uri="{FF2B5EF4-FFF2-40B4-BE49-F238E27FC236}">
                    <a16:creationId xmlns:a16="http://schemas.microsoft.com/office/drawing/2014/main" id="{72AF7271-A107-4C2A-82BF-7C909854A08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1334" y="1676400"/>
                <a:ext cx="2905125" cy="831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TextBox 3">
                <a:extLst>
                  <a:ext uri="{FF2B5EF4-FFF2-40B4-BE49-F238E27FC236}">
                    <a16:creationId xmlns:a16="http://schemas.microsoft.com/office/drawing/2014/main" id="{1E2642E6-F150-43F3-8AAC-61346700CE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3400" y="1676400"/>
                <a:ext cx="2743059" cy="12618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 dirty="0"/>
                  <a:t>Login ID : C003, Location : Bangalore</a:t>
                </a:r>
              </a:p>
              <a:p>
                <a:r>
                  <a:rPr lang="en-US" altLang="en-US" sz="1200" dirty="0"/>
                  <a:t>Search Page: Data Analytics books</a:t>
                </a:r>
              </a:p>
              <a:p>
                <a:r>
                  <a:rPr lang="en-US" altLang="en-US" sz="1200" dirty="0"/>
                  <a:t>Time: 16:23:45.34, device : mobile</a:t>
                </a:r>
              </a:p>
              <a:p>
                <a:r>
                  <a:rPr lang="en-US" altLang="en-US" sz="1200" dirty="0"/>
                  <a:t>IP: 10.0.12.13 …………………………</a:t>
                </a:r>
              </a:p>
              <a:p>
                <a:endParaRPr lang="en-US" altLang="en-US" dirty="0"/>
              </a:p>
            </p:txBody>
          </p:sp>
        </p:grpSp>
        <p:grpSp>
          <p:nvGrpSpPr>
            <p:cNvPr id="33" name="Group 8">
              <a:extLst>
                <a:ext uri="{FF2B5EF4-FFF2-40B4-BE49-F238E27FC236}">
                  <a16:creationId xmlns:a16="http://schemas.microsoft.com/office/drawing/2014/main" id="{801BD4A0-C3ED-4DA3-BD0C-C1ED3F016B3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6550" y="2587625"/>
              <a:ext cx="2955925" cy="846138"/>
              <a:chOff x="371334" y="2938284"/>
              <a:chExt cx="2956420" cy="845832"/>
            </a:xfrm>
          </p:grpSpPr>
          <p:pic>
            <p:nvPicPr>
              <p:cNvPr id="35" name="Picture 4">
                <a:extLst>
                  <a:ext uri="{FF2B5EF4-FFF2-40B4-BE49-F238E27FC236}">
                    <a16:creationId xmlns:a16="http://schemas.microsoft.com/office/drawing/2014/main" id="{7B432D9D-6FB3-49F0-A09A-5FEF5023B6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1334" y="2938284"/>
                <a:ext cx="2905125" cy="831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TextBox 5">
                <a:extLst>
                  <a:ext uri="{FF2B5EF4-FFF2-40B4-BE49-F238E27FC236}">
                    <a16:creationId xmlns:a16="http://schemas.microsoft.com/office/drawing/2014/main" id="{8B9AD8C6-BF9D-4FA5-9049-25B0B493B8A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3399" y="2953119"/>
                <a:ext cx="2794355" cy="8309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/>
                  <a:t>Login ID : C007, Location : Hyderabad</a:t>
                </a:r>
              </a:p>
              <a:p>
                <a:r>
                  <a:rPr lang="en-US" altLang="en-US" sz="1200"/>
                  <a:t>Search Page: Electronics</a:t>
                </a:r>
              </a:p>
              <a:p>
                <a:r>
                  <a:rPr lang="en-US" altLang="en-US" sz="1200"/>
                  <a:t>Time: 19:23:45.34, device : desktop</a:t>
                </a:r>
              </a:p>
              <a:p>
                <a:r>
                  <a:rPr lang="en-US" altLang="en-US" sz="1200"/>
                  <a:t>IP: 10.0.10.3 …………………………</a:t>
                </a:r>
              </a:p>
            </p:txBody>
          </p:sp>
        </p:grpSp>
        <p:sp>
          <p:nvSpPr>
            <p:cNvPr id="34" name="Rectangle: Rounded Corners 27">
              <a:extLst>
                <a:ext uri="{FF2B5EF4-FFF2-40B4-BE49-F238E27FC236}">
                  <a16:creationId xmlns:a16="http://schemas.microsoft.com/office/drawing/2014/main" id="{9F2A0AB2-3ACB-4755-AE49-1E527CA6CE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213" y="1508125"/>
              <a:ext cx="3251200" cy="2184400"/>
            </a:xfrm>
            <a:prstGeom prst="roundRect">
              <a:avLst>
                <a:gd name="adj" fmla="val 16667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</p:grpSp>
      <p:grpSp>
        <p:nvGrpSpPr>
          <p:cNvPr id="39" name="Group 3">
            <a:extLst>
              <a:ext uri="{FF2B5EF4-FFF2-40B4-BE49-F238E27FC236}">
                <a16:creationId xmlns:a16="http://schemas.microsoft.com/office/drawing/2014/main" id="{B699C27D-264C-4126-901F-AF2858E8D584}"/>
              </a:ext>
            </a:extLst>
          </p:cNvPr>
          <p:cNvGrpSpPr>
            <a:grpSpLocks/>
          </p:cNvGrpSpPr>
          <p:nvPr/>
        </p:nvGrpSpPr>
        <p:grpSpPr bwMode="auto">
          <a:xfrm>
            <a:off x="3308401" y="3593895"/>
            <a:ext cx="1952625" cy="915988"/>
            <a:chOff x="919163" y="3702050"/>
            <a:chExt cx="1952625" cy="915988"/>
          </a:xfrm>
        </p:grpSpPr>
        <p:sp>
          <p:nvSpPr>
            <p:cNvPr id="40" name="Arrow: Right 20">
              <a:extLst>
                <a:ext uri="{FF2B5EF4-FFF2-40B4-BE49-F238E27FC236}">
                  <a16:creationId xmlns:a16="http://schemas.microsoft.com/office/drawing/2014/main" id="{6AD2B539-BFAB-464E-9338-4B83E505346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203325" y="4068763"/>
              <a:ext cx="915988" cy="182562"/>
            </a:xfrm>
            <a:prstGeom prst="rightArrow">
              <a:avLst>
                <a:gd name="adj1" fmla="val 50000"/>
                <a:gd name="adj2" fmla="val 49849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41" name="TextBox 33">
              <a:extLst>
                <a:ext uri="{FF2B5EF4-FFF2-40B4-BE49-F238E27FC236}">
                  <a16:creationId xmlns:a16="http://schemas.microsoft.com/office/drawing/2014/main" id="{8FBBFFB5-D664-41B0-83BB-AFAAAAF84B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9163" y="4175125"/>
              <a:ext cx="1952625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600"/>
                <a:t>Faster   Processing</a:t>
              </a:r>
            </a:p>
          </p:txBody>
        </p:sp>
      </p:grpSp>
      <p:grpSp>
        <p:nvGrpSpPr>
          <p:cNvPr id="42" name="Group 7">
            <a:extLst>
              <a:ext uri="{FF2B5EF4-FFF2-40B4-BE49-F238E27FC236}">
                <a16:creationId xmlns:a16="http://schemas.microsoft.com/office/drawing/2014/main" id="{E7E75EF4-FA00-4711-8E71-D891387F1FC6}"/>
              </a:ext>
            </a:extLst>
          </p:cNvPr>
          <p:cNvGrpSpPr>
            <a:grpSpLocks/>
          </p:cNvGrpSpPr>
          <p:nvPr/>
        </p:nvGrpSpPr>
        <p:grpSpPr bwMode="auto">
          <a:xfrm>
            <a:off x="6139026" y="1145176"/>
            <a:ext cx="5353050" cy="2693988"/>
            <a:chOff x="3333750" y="1295400"/>
            <a:chExt cx="5353050" cy="2693988"/>
          </a:xfrm>
        </p:grpSpPr>
        <p:sp>
          <p:nvSpPr>
            <p:cNvPr id="43" name="Arrow: Right 13">
              <a:extLst>
                <a:ext uri="{FF2B5EF4-FFF2-40B4-BE49-F238E27FC236}">
                  <a16:creationId xmlns:a16="http://schemas.microsoft.com/office/drawing/2014/main" id="{A515104D-FD81-4170-9E24-78FF30222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8525" y="1963738"/>
              <a:ext cx="1514475" cy="201612"/>
            </a:xfrm>
            <a:prstGeom prst="rightArrow">
              <a:avLst>
                <a:gd name="adj1" fmla="val 50000"/>
                <a:gd name="adj2" fmla="val 49766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  <p:sp>
          <p:nvSpPr>
            <p:cNvPr id="44" name="TextBox 15">
              <a:extLst>
                <a:ext uri="{FF2B5EF4-FFF2-40B4-BE49-F238E27FC236}">
                  <a16:creationId xmlns:a16="http://schemas.microsoft.com/office/drawing/2014/main" id="{426C605B-3972-48D2-9BE4-A4C77CCE8B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33750" y="2165350"/>
              <a:ext cx="1714500" cy="830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00"/>
                <a:t>Logs </a:t>
              </a:r>
            </a:p>
            <a:p>
              <a:pPr algn="ctr"/>
              <a:r>
                <a:rPr lang="en-US" altLang="en-US" sz="1600"/>
                <a:t>and</a:t>
              </a:r>
            </a:p>
            <a:p>
              <a:pPr algn="ctr"/>
              <a:r>
                <a:rPr lang="en-US" altLang="en-US" sz="1600"/>
                <a:t>customer activity</a:t>
              </a:r>
            </a:p>
          </p:txBody>
        </p:sp>
        <p:grpSp>
          <p:nvGrpSpPr>
            <p:cNvPr id="45" name="Group 6">
              <a:extLst>
                <a:ext uri="{FF2B5EF4-FFF2-40B4-BE49-F238E27FC236}">
                  <a16:creationId xmlns:a16="http://schemas.microsoft.com/office/drawing/2014/main" id="{5A848BE7-1879-4162-97B5-4459AAD02E5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53000" y="1295400"/>
              <a:ext cx="3733800" cy="2693988"/>
              <a:chOff x="4953000" y="1295400"/>
              <a:chExt cx="3733800" cy="2693988"/>
            </a:xfrm>
          </p:grpSpPr>
          <p:pic>
            <p:nvPicPr>
              <p:cNvPr id="47" name="Picture 9">
                <a:extLst>
                  <a:ext uri="{FF2B5EF4-FFF2-40B4-BE49-F238E27FC236}">
                    <a16:creationId xmlns:a16="http://schemas.microsoft.com/office/drawing/2014/main" id="{FAAEB5DA-DECF-4CDD-9708-00A23809F1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05400" y="1295400"/>
                <a:ext cx="2628900" cy="17430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48" name="Group 5">
                <a:extLst>
                  <a:ext uri="{FF2B5EF4-FFF2-40B4-BE49-F238E27FC236}">
                    <a16:creationId xmlns:a16="http://schemas.microsoft.com/office/drawing/2014/main" id="{73390306-B13D-4906-9143-30244A87BD9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53000" y="1447800"/>
                <a:ext cx="3733800" cy="2541588"/>
                <a:chOff x="4953000" y="1447800"/>
                <a:chExt cx="3733800" cy="2541588"/>
              </a:xfrm>
            </p:grpSpPr>
            <p:pic>
              <p:nvPicPr>
                <p:cNvPr id="49" name="Picture 10">
                  <a:extLst>
                    <a:ext uri="{FF2B5EF4-FFF2-40B4-BE49-F238E27FC236}">
                      <a16:creationId xmlns:a16="http://schemas.microsoft.com/office/drawing/2014/main" id="{06111F25-831F-4596-9A7C-5B7BC094EF5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81588" y="2443163"/>
                  <a:ext cx="1295400" cy="11906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0" name="Picture 11">
                  <a:extLst>
                    <a:ext uri="{FF2B5EF4-FFF2-40B4-BE49-F238E27FC236}">
                      <a16:creationId xmlns:a16="http://schemas.microsoft.com/office/drawing/2014/main" id="{385021EA-87CA-4181-86F2-E6E1C1F167C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358063" y="1963738"/>
                  <a:ext cx="1114425" cy="12334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1" name="Rectangle: Rounded Corners 12">
                  <a:extLst>
                    <a:ext uri="{FF2B5EF4-FFF2-40B4-BE49-F238E27FC236}">
                      <a16:creationId xmlns:a16="http://schemas.microsoft.com/office/drawing/2014/main" id="{12CB3544-0472-4B73-9127-BE7B1CB4AD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53000" y="1447800"/>
                  <a:ext cx="3733800" cy="2514600"/>
                </a:xfrm>
                <a:prstGeom prst="roundRect">
                  <a:avLst>
                    <a:gd name="adj" fmla="val 16667"/>
                  </a:avLst>
                </a:prstGeom>
                <a:noFill/>
                <a:ln w="12700" algn="ctr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90488" tIns="44450" rIns="90488" bIns="44450"/>
                <a:lstStyle>
                  <a:lvl1pPr marL="342900" indent="-3429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>
                    <a:spcBef>
                      <a:spcPct val="20000"/>
                    </a:spcBef>
                    <a:buClr>
                      <a:schemeClr val="tx1"/>
                    </a:buClr>
                    <a:buFontTx/>
                    <a:buChar char="•"/>
                  </a:pPr>
                  <a:endParaRPr lang="en-US" altLang="en-US"/>
                </a:p>
              </p:txBody>
            </p:sp>
            <p:sp>
              <p:nvSpPr>
                <p:cNvPr id="52" name="TextBox 16">
                  <a:extLst>
                    <a:ext uri="{FF2B5EF4-FFF2-40B4-BE49-F238E27FC236}">
                      <a16:creationId xmlns:a16="http://schemas.microsoft.com/office/drawing/2014/main" id="{2070A715-7ACD-4F7A-9220-53D3498B806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65763" y="3713163"/>
                  <a:ext cx="2865437" cy="2762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en-US" altLang="en-US" sz="1200">
                      <a:solidFill>
                        <a:srgbClr val="002060"/>
                      </a:solidFill>
                    </a:rPr>
                    <a:t>Local FS or HDFS or any cloud storage</a:t>
                  </a:r>
                </a:p>
              </p:txBody>
            </p:sp>
          </p:grpSp>
        </p:grpSp>
        <p:sp>
          <p:nvSpPr>
            <p:cNvPr id="46" name="Arrow: Right 26">
              <a:extLst>
                <a:ext uri="{FF2B5EF4-FFF2-40B4-BE49-F238E27FC236}">
                  <a16:creationId xmlns:a16="http://schemas.microsoft.com/office/drawing/2014/main" id="{13AE1A71-1940-4196-BCBD-80CCED783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8525" y="3149600"/>
              <a:ext cx="1508125" cy="173038"/>
            </a:xfrm>
            <a:prstGeom prst="rightArrow">
              <a:avLst>
                <a:gd name="adj1" fmla="val 50000"/>
                <a:gd name="adj2" fmla="val 50276"/>
              </a:avLst>
            </a:prstGeom>
            <a:no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/>
            <a:lstStyle>
              <a:lvl1pPr marL="342900" indent="-3429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tx1"/>
                </a:buClr>
                <a:buFontTx/>
                <a:buChar char="•"/>
              </a:pPr>
              <a:endParaRPr lang="en-US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52683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134CF3-3668-4FD5-9B0E-7441C14DC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Here we have…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ECED07-040C-429A-B679-C7C76C990A7A}"/>
              </a:ext>
            </a:extLst>
          </p:cNvPr>
          <p:cNvSpPr txBox="1"/>
          <p:nvPr/>
        </p:nvSpPr>
        <p:spPr>
          <a:xfrm>
            <a:off x="6231196" y="6388168"/>
            <a:ext cx="65" cy="292388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45720" rtlCol="0">
            <a:spAutoFit/>
          </a:bodyPr>
          <a:lstStyle>
            <a:defPPr>
              <a:defRPr lang="en-US"/>
            </a:defPPr>
            <a:lvl1pPr>
              <a:defRPr sz="1600" b="1"/>
            </a:lvl1pPr>
          </a:lstStyle>
          <a:p>
            <a:endParaRPr lang="en-US" b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8E9F990-544A-4CB9-AD19-217F803632CC}"/>
              </a:ext>
            </a:extLst>
          </p:cNvPr>
          <p:cNvSpPr/>
          <p:nvPr/>
        </p:nvSpPr>
        <p:spPr>
          <a:xfrm>
            <a:off x="3420298" y="2153265"/>
            <a:ext cx="5621795" cy="9233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54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APACHE SPARK</a:t>
            </a: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C0E932D8-22F6-452E-990E-3DA991D56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72471" y="3372465"/>
            <a:ext cx="7116762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/>
              <a:t>The Framework for</a:t>
            </a:r>
          </a:p>
          <a:p>
            <a:pPr algn="ctr"/>
            <a:r>
              <a:rPr lang="en-US" altLang="en-US"/>
              <a:t> Faster Batch &amp; Real Time Data Processing</a:t>
            </a:r>
          </a:p>
        </p:txBody>
      </p:sp>
    </p:spTree>
    <p:extLst>
      <p:ext uri="{BB962C8B-B14F-4D97-AF65-F5344CB8AC3E}">
        <p14:creationId xmlns:p14="http://schemas.microsoft.com/office/powerpoint/2010/main" val="1891752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Master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59595"/>
      </a:lt2>
      <a:accent1>
        <a:srgbClr val="00FF00"/>
      </a:accent1>
      <a:accent2>
        <a:srgbClr val="00D600"/>
      </a:accent2>
      <a:accent3>
        <a:srgbClr val="005309"/>
      </a:accent3>
      <a:accent4>
        <a:srgbClr val="BDBDBD"/>
      </a:accent4>
      <a:accent5>
        <a:srgbClr val="959595"/>
      </a:accent5>
      <a:accent6>
        <a:srgbClr val="5A5A5A"/>
      </a:accent6>
      <a:hlink>
        <a:srgbClr val="00D600"/>
      </a:hlink>
      <a:folHlink>
        <a:srgbClr val="005309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LKM_PPT_Course Name_Template" id="{8AD66D50-9E55-4488-A238-A745B68698FC}" vid="{FDDB12F5-A3DF-4DEB-B6BC-72B63CDD83D2}"/>
    </a:ext>
  </a:extLst>
</a:theme>
</file>

<file path=ppt/theme/theme2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LKM_PPT_Course Name_Template" id="{8AD66D50-9E55-4488-A238-A745B68698FC}" vid="{82B79CEE-4A1B-41A3-BEA8-07360FCCA4A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27F44C44B1724A8E483E61CB911426" ma:contentTypeVersion="10" ma:contentTypeDescription="Create a new document." ma:contentTypeScope="" ma:versionID="2beac86c556cc7223e3d43b1bf57227e">
  <xsd:schema xmlns:xsd="http://www.w3.org/2001/XMLSchema" xmlns:xs="http://www.w3.org/2001/XMLSchema" xmlns:p="http://schemas.microsoft.com/office/2006/metadata/properties" xmlns:ns2="c0683136-72b5-46e5-b4dd-3902861e6373" xmlns:ns3="9dab7b6f-c0ca-4100-8908-944a9294f3cf" targetNamespace="http://schemas.microsoft.com/office/2006/metadata/properties" ma:root="true" ma:fieldsID="353ffbde67604d29b635495168b118db" ns2:_="" ns3:_="">
    <xsd:import namespace="c0683136-72b5-46e5-b4dd-3902861e6373"/>
    <xsd:import namespace="9dab7b6f-c0ca-4100-8908-944a9294f3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3136-72b5-46e5-b4dd-3902861e6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ab7b6f-c0ca-4100-8908-944a9294f3c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ab7b6f-c0ca-4100-8908-944a9294f3cf">
      <UserInfo>
        <DisplayName>Deshpande, Gauri M.</DisplayName>
        <AccountId>15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CAF82A17-C698-434B-895F-7E7946BBBEE1}"/>
</file>

<file path=customXml/itemProps2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EDFF0A-8904-42B6-AEB2-7C60372CB2F4}">
  <ds:schemaRefs>
    <ds:schemaRef ds:uri="http://schemas.microsoft.com/office/infopath/2007/PartnerControls"/>
    <ds:schemaRef ds:uri="6cbd076a-8c82-476d-a438-b0848148edec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16e4b277-168d-4e8a-920f-fa2fc8e6f609"/>
    <ds:schemaRef ds:uri="http://purl.org/dc/dcmitype/"/>
    <ds:schemaRef ds:uri="http://schemas.microsoft.com/office/2006/metadata/properties"/>
    <ds:schemaRef ds:uri="http://www.w3.org/XML/1998/namespace"/>
    <ds:schemaRef ds:uri="http://purl.org/dc/elements/1.1/"/>
    <ds:schemaRef ds:uri="07903016-4f2b-4030-9f6b-e99d19afb5d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KM_PPT_Course Name_Template</Template>
  <TotalTime>285</TotalTime>
  <Words>535</Words>
  <Application>Microsoft Office PowerPoint</Application>
  <PresentationFormat>Widescreen</PresentationFormat>
  <Paragraphs>9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lgerian</vt:lpstr>
      <vt:lpstr>Arial</vt:lpstr>
      <vt:lpstr>Arial Black</vt:lpstr>
      <vt:lpstr>Comic Sans MS</vt:lpstr>
      <vt:lpstr>Graphik</vt:lpstr>
      <vt:lpstr>Graphik Regular</vt:lpstr>
      <vt:lpstr>Times New Roman</vt:lpstr>
      <vt:lpstr>Wingdings</vt:lpstr>
      <vt:lpstr>Title Master</vt:lpstr>
      <vt:lpstr>Content Layouts</vt:lpstr>
      <vt:lpstr>think-cell Slide</vt:lpstr>
      <vt:lpstr>PowerPoint Presentation</vt:lpstr>
      <vt:lpstr>PowerPoint Presentation</vt:lpstr>
      <vt:lpstr>Every now and then, almost in every corner of the world….. This happens..!!</vt:lpstr>
      <vt:lpstr>Every now and then, almost in every corner of the world….. This happens..!!</vt:lpstr>
      <vt:lpstr>At the same time…. In an eCommerce application development &amp; analytics team</vt:lpstr>
      <vt:lpstr>Looking at the scenario, what is required?</vt:lpstr>
      <vt:lpstr>What we have done so far ?</vt:lpstr>
      <vt:lpstr>What we need to do?</vt:lpstr>
      <vt:lpstr>Here we have…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 Name</dc:title>
  <dc:creator>Yogasundaram, Karthigayen</dc:creator>
  <cp:lastModifiedBy>Deenabandu, Vijayganesh</cp:lastModifiedBy>
  <cp:revision>20</cp:revision>
  <dcterms:created xsi:type="dcterms:W3CDTF">2020-09-14T07:46:07Z</dcterms:created>
  <dcterms:modified xsi:type="dcterms:W3CDTF">2020-10-18T16:2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27F44C44B1724A8E483E61CB911426</vt:lpwstr>
  </property>
</Properties>
</file>